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8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373217-59FD-21E4-3D00-BCFAFE88D3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3494A8F-A464-BD8F-34EF-7C761468EE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494A8F-A464-BD8F-34EF-7C761468EE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5F0B56-39DC-2E51-AA87-4B1666C81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E233B59-0D6E-CF0B-1108-E6AE9C77629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Google Shape;934;p13">
            <a:extLst>
              <a:ext uri="{FF2B5EF4-FFF2-40B4-BE49-F238E27FC236}">
                <a16:creationId xmlns:a16="http://schemas.microsoft.com/office/drawing/2014/main" id="{683AB6F9-2E26-8CE2-FDA1-6ED640F9EBF0}"/>
              </a:ext>
            </a:extLst>
          </p:cNvPr>
          <p:cNvSpPr/>
          <p:nvPr/>
        </p:nvSpPr>
        <p:spPr>
          <a:xfrm>
            <a:off x="1308127" y="1877145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" name="Google Shape;935;p13">
            <a:extLst>
              <a:ext uri="{FF2B5EF4-FFF2-40B4-BE49-F238E27FC236}">
                <a16:creationId xmlns:a16="http://schemas.microsoft.com/office/drawing/2014/main" id="{6924B1C8-716C-A8D0-E1E2-CD849ED893B6}"/>
              </a:ext>
            </a:extLst>
          </p:cNvPr>
          <p:cNvSpPr/>
          <p:nvPr/>
        </p:nvSpPr>
        <p:spPr>
          <a:xfrm>
            <a:off x="781967" y="1877145"/>
            <a:ext cx="1067268" cy="1067268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7" name="Google Shape;936;p13">
            <a:extLst>
              <a:ext uri="{FF2B5EF4-FFF2-40B4-BE49-F238E27FC236}">
                <a16:creationId xmlns:a16="http://schemas.microsoft.com/office/drawing/2014/main" id="{C96E50AD-9A24-2675-C36D-A5C4BC28C44D}"/>
              </a:ext>
            </a:extLst>
          </p:cNvPr>
          <p:cNvSpPr txBox="1"/>
          <p:nvPr/>
        </p:nvSpPr>
        <p:spPr>
          <a:xfrm>
            <a:off x="1908467" y="247685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8" name="Google Shape;937;p13">
            <a:extLst>
              <a:ext uri="{FF2B5EF4-FFF2-40B4-BE49-F238E27FC236}">
                <a16:creationId xmlns:a16="http://schemas.microsoft.com/office/drawing/2014/main" id="{96AD9DB5-20CB-1DA4-5032-721AB7D5B9A3}"/>
              </a:ext>
            </a:extLst>
          </p:cNvPr>
          <p:cNvSpPr txBox="1"/>
          <p:nvPr/>
        </p:nvSpPr>
        <p:spPr>
          <a:xfrm>
            <a:off x="1908467" y="213980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2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9" name="Google Shape;938;p13">
            <a:extLst>
              <a:ext uri="{FF2B5EF4-FFF2-40B4-BE49-F238E27FC236}">
                <a16:creationId xmlns:a16="http://schemas.microsoft.com/office/drawing/2014/main" id="{5C61DB5E-8178-4104-5C28-4A957B30B6E5}"/>
              </a:ext>
            </a:extLst>
          </p:cNvPr>
          <p:cNvSpPr/>
          <p:nvPr/>
        </p:nvSpPr>
        <p:spPr>
          <a:xfrm>
            <a:off x="626323" y="2255134"/>
            <a:ext cx="333522" cy="333522"/>
          </a:xfrm>
          <a:prstGeom prst="ellipse">
            <a:avLst/>
          </a:prstGeom>
          <a:solidFill>
            <a:schemeClr val="bg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1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10" name="Google Shape;939;p13">
            <a:extLst>
              <a:ext uri="{FF2B5EF4-FFF2-40B4-BE49-F238E27FC236}">
                <a16:creationId xmlns:a16="http://schemas.microsoft.com/office/drawing/2014/main" id="{9EB835E4-6921-B2CD-9084-BA1073F0A3F4}"/>
              </a:ext>
            </a:extLst>
          </p:cNvPr>
          <p:cNvCxnSpPr>
            <a:stCxn id="6" idx="3"/>
          </p:cNvCxnSpPr>
          <p:nvPr/>
        </p:nvCxnSpPr>
        <p:spPr>
          <a:xfrm>
            <a:off x="1849231" y="2410778"/>
            <a:ext cx="125603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607AEAA-A9DA-C152-65D0-4ABB2E5412D8}"/>
              </a:ext>
            </a:extLst>
          </p:cNvPr>
          <p:cNvGrpSpPr/>
          <p:nvPr/>
        </p:nvGrpSpPr>
        <p:grpSpPr>
          <a:xfrm>
            <a:off x="1127547" y="2204647"/>
            <a:ext cx="376105" cy="412264"/>
            <a:chOff x="994105" y="2461399"/>
            <a:chExt cx="391443" cy="429076"/>
          </a:xfrm>
        </p:grpSpPr>
        <p:sp>
          <p:nvSpPr>
            <p:cNvPr id="86" name="Google Shape;941;p13">
              <a:extLst>
                <a:ext uri="{FF2B5EF4-FFF2-40B4-BE49-F238E27FC236}">
                  <a16:creationId xmlns:a16="http://schemas.microsoft.com/office/drawing/2014/main" id="{96704064-3478-3706-8AD9-C741514960CF}"/>
                </a:ext>
              </a:extLst>
            </p:cNvPr>
            <p:cNvSpPr/>
            <p:nvPr/>
          </p:nvSpPr>
          <p:spPr>
            <a:xfrm>
              <a:off x="1084437" y="2555495"/>
              <a:ext cx="207014" cy="334980"/>
            </a:xfrm>
            <a:custGeom>
              <a:avLst/>
              <a:gdLst/>
              <a:ahLst/>
              <a:cxnLst/>
              <a:rect l="l" t="t" r="r" b="b"/>
              <a:pathLst>
                <a:path w="201" h="320" extrusionOk="0">
                  <a:moveTo>
                    <a:pt x="100" y="320"/>
                  </a:moveTo>
                  <a:cubicBezTo>
                    <a:pt x="77" y="320"/>
                    <a:pt x="58" y="302"/>
                    <a:pt x="57" y="279"/>
                  </a:cubicBezTo>
                  <a:cubicBezTo>
                    <a:pt x="57" y="274"/>
                    <a:pt x="57" y="274"/>
                    <a:pt x="57" y="274"/>
                  </a:cubicBezTo>
                  <a:cubicBezTo>
                    <a:pt x="56" y="233"/>
                    <a:pt x="42" y="192"/>
                    <a:pt x="19" y="156"/>
                  </a:cubicBezTo>
                  <a:cubicBezTo>
                    <a:pt x="6" y="137"/>
                    <a:pt x="0" y="114"/>
                    <a:pt x="3" y="90"/>
                  </a:cubicBezTo>
                  <a:cubicBezTo>
                    <a:pt x="8" y="45"/>
                    <a:pt x="44" y="8"/>
                    <a:pt x="90" y="3"/>
                  </a:cubicBezTo>
                  <a:cubicBezTo>
                    <a:pt x="119" y="0"/>
                    <a:pt x="146" y="8"/>
                    <a:pt x="168" y="27"/>
                  </a:cubicBezTo>
                  <a:cubicBezTo>
                    <a:pt x="189" y="46"/>
                    <a:pt x="201" y="73"/>
                    <a:pt x="201" y="101"/>
                  </a:cubicBezTo>
                  <a:cubicBezTo>
                    <a:pt x="201" y="122"/>
                    <a:pt x="194" y="141"/>
                    <a:pt x="183" y="158"/>
                  </a:cubicBezTo>
                  <a:cubicBezTo>
                    <a:pt x="158" y="194"/>
                    <a:pt x="144" y="236"/>
                    <a:pt x="142" y="279"/>
                  </a:cubicBezTo>
                  <a:cubicBezTo>
                    <a:pt x="141" y="302"/>
                    <a:pt x="123" y="320"/>
                    <a:pt x="100" y="320"/>
                  </a:cubicBezTo>
                  <a:close/>
                  <a:moveTo>
                    <a:pt x="101" y="14"/>
                  </a:moveTo>
                  <a:cubicBezTo>
                    <a:pt x="98" y="14"/>
                    <a:pt x="95" y="15"/>
                    <a:pt x="91" y="15"/>
                  </a:cubicBezTo>
                  <a:cubicBezTo>
                    <a:pt x="51" y="19"/>
                    <a:pt x="19" y="52"/>
                    <a:pt x="15" y="91"/>
                  </a:cubicBezTo>
                  <a:cubicBezTo>
                    <a:pt x="12" y="112"/>
                    <a:pt x="17" y="132"/>
                    <a:pt x="29" y="150"/>
                  </a:cubicBezTo>
                  <a:cubicBezTo>
                    <a:pt x="54" y="187"/>
                    <a:pt x="68" y="230"/>
                    <a:pt x="69" y="274"/>
                  </a:cubicBezTo>
                  <a:cubicBezTo>
                    <a:pt x="70" y="279"/>
                    <a:pt x="70" y="279"/>
                    <a:pt x="70" y="279"/>
                  </a:cubicBezTo>
                  <a:cubicBezTo>
                    <a:pt x="70" y="295"/>
                    <a:pt x="83" y="308"/>
                    <a:pt x="100" y="308"/>
                  </a:cubicBezTo>
                  <a:cubicBezTo>
                    <a:pt x="116" y="308"/>
                    <a:pt x="129" y="295"/>
                    <a:pt x="130" y="279"/>
                  </a:cubicBezTo>
                  <a:cubicBezTo>
                    <a:pt x="131" y="233"/>
                    <a:pt x="146" y="189"/>
                    <a:pt x="173" y="151"/>
                  </a:cubicBezTo>
                  <a:cubicBezTo>
                    <a:pt x="183" y="136"/>
                    <a:pt x="188" y="119"/>
                    <a:pt x="188" y="101"/>
                  </a:cubicBezTo>
                  <a:cubicBezTo>
                    <a:pt x="188" y="77"/>
                    <a:pt x="178" y="53"/>
                    <a:pt x="159" y="37"/>
                  </a:cubicBezTo>
                  <a:cubicBezTo>
                    <a:pt x="143" y="22"/>
                    <a:pt x="123" y="14"/>
                    <a:pt x="10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7" name="Google Shape;942;p13">
              <a:extLst>
                <a:ext uri="{FF2B5EF4-FFF2-40B4-BE49-F238E27FC236}">
                  <a16:creationId xmlns:a16="http://schemas.microsoft.com/office/drawing/2014/main" id="{54C083BF-3F31-4B9B-3E0A-D21AAF9356C5}"/>
                </a:ext>
              </a:extLst>
            </p:cNvPr>
            <p:cNvSpPr/>
            <p:nvPr/>
          </p:nvSpPr>
          <p:spPr>
            <a:xfrm>
              <a:off x="1140897" y="2788851"/>
              <a:ext cx="94097" cy="26348"/>
            </a:xfrm>
            <a:custGeom>
              <a:avLst/>
              <a:gdLst/>
              <a:ahLst/>
              <a:cxnLst/>
              <a:rect l="l" t="t" r="r" b="b"/>
              <a:pathLst>
                <a:path w="91" h="22" extrusionOk="0">
                  <a:moveTo>
                    <a:pt x="45" y="22"/>
                  </a:moveTo>
                  <a:cubicBezTo>
                    <a:pt x="21" y="22"/>
                    <a:pt x="5" y="13"/>
                    <a:pt x="4" y="13"/>
                  </a:cubicBezTo>
                  <a:cubicBezTo>
                    <a:pt x="1" y="11"/>
                    <a:pt x="0" y="7"/>
                    <a:pt x="1" y="4"/>
                  </a:cubicBezTo>
                  <a:cubicBezTo>
                    <a:pt x="3" y="2"/>
                    <a:pt x="7" y="0"/>
                    <a:pt x="10" y="2"/>
                  </a:cubicBezTo>
                  <a:cubicBezTo>
                    <a:pt x="11" y="3"/>
                    <a:pt x="42" y="20"/>
                    <a:pt x="82" y="2"/>
                  </a:cubicBezTo>
                  <a:cubicBezTo>
                    <a:pt x="85" y="1"/>
                    <a:pt x="88" y="2"/>
                    <a:pt x="90" y="5"/>
                  </a:cubicBezTo>
                  <a:cubicBezTo>
                    <a:pt x="91" y="8"/>
                    <a:pt x="90" y="12"/>
                    <a:pt x="87" y="13"/>
                  </a:cubicBezTo>
                  <a:cubicBezTo>
                    <a:pt x="71" y="20"/>
                    <a:pt x="57" y="22"/>
                    <a:pt x="45" y="2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8" name="Google Shape;943;p13">
              <a:extLst>
                <a:ext uri="{FF2B5EF4-FFF2-40B4-BE49-F238E27FC236}">
                  <a16:creationId xmlns:a16="http://schemas.microsoft.com/office/drawing/2014/main" id="{8E8C5208-2FE8-538A-3D80-4CEA82FCA7E8}"/>
                </a:ext>
              </a:extLst>
            </p:cNvPr>
            <p:cNvSpPr/>
            <p:nvPr/>
          </p:nvSpPr>
          <p:spPr>
            <a:xfrm>
              <a:off x="1182297" y="2461399"/>
              <a:ext cx="11292" cy="48931"/>
            </a:xfrm>
            <a:custGeom>
              <a:avLst/>
              <a:gdLst/>
              <a:ahLst/>
              <a:cxnLst/>
              <a:rect l="l" t="t" r="r" b="b"/>
              <a:pathLst>
                <a:path w="12" h="45" extrusionOk="0">
                  <a:moveTo>
                    <a:pt x="6" y="45"/>
                  </a:moveTo>
                  <a:cubicBezTo>
                    <a:pt x="3" y="45"/>
                    <a:pt x="0" y="42"/>
                    <a:pt x="0" y="3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42"/>
                    <a:pt x="10" y="45"/>
                    <a:pt x="6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9" name="Google Shape;944;p13">
              <a:extLst>
                <a:ext uri="{FF2B5EF4-FFF2-40B4-BE49-F238E27FC236}">
                  <a16:creationId xmlns:a16="http://schemas.microsoft.com/office/drawing/2014/main" id="{909E6CB1-58C6-62AA-707B-2EC0C3F74783}"/>
                </a:ext>
              </a:extLst>
            </p:cNvPr>
            <p:cNvSpPr/>
            <p:nvPr/>
          </p:nvSpPr>
          <p:spPr>
            <a:xfrm>
              <a:off x="1058091" y="2506564"/>
              <a:ext cx="33877" cy="41403"/>
            </a:xfrm>
            <a:custGeom>
              <a:avLst/>
              <a:gdLst/>
              <a:ahLst/>
              <a:cxnLst/>
              <a:rect l="l" t="t" r="r" b="b"/>
              <a:pathLst>
                <a:path w="34" h="37" extrusionOk="0">
                  <a:moveTo>
                    <a:pt x="27" y="37"/>
                  </a:moveTo>
                  <a:cubicBezTo>
                    <a:pt x="26" y="37"/>
                    <a:pt x="24" y="37"/>
                    <a:pt x="23" y="35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4" y="30"/>
                    <a:pt x="34" y="34"/>
                    <a:pt x="31" y="36"/>
                  </a:cubicBezTo>
                  <a:cubicBezTo>
                    <a:pt x="30" y="37"/>
                    <a:pt x="29" y="37"/>
                    <a:pt x="27" y="3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0" name="Google Shape;945;p13">
              <a:extLst>
                <a:ext uri="{FF2B5EF4-FFF2-40B4-BE49-F238E27FC236}">
                  <a16:creationId xmlns:a16="http://schemas.microsoft.com/office/drawing/2014/main" id="{4FF0D6D6-18BF-5EB3-E1BC-D99C8EA7AF9F}"/>
                </a:ext>
              </a:extLst>
            </p:cNvPr>
            <p:cNvSpPr/>
            <p:nvPr/>
          </p:nvSpPr>
          <p:spPr>
            <a:xfrm>
              <a:off x="994105" y="2619479"/>
              <a:ext cx="45166" cy="22584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38" y="19"/>
                  </a:moveTo>
                  <a:cubicBezTo>
                    <a:pt x="38" y="19"/>
                    <a:pt x="37" y="19"/>
                    <a:pt x="37" y="1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1" y="3"/>
                    <a:pt x="4" y="0"/>
                    <a:pt x="7" y="1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3" y="7"/>
                    <a:pt x="45" y="10"/>
                    <a:pt x="44" y="14"/>
                  </a:cubicBezTo>
                  <a:cubicBezTo>
                    <a:pt x="44" y="17"/>
                    <a:pt x="41" y="19"/>
                    <a:pt x="38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1" name="Google Shape;946;p13">
              <a:extLst>
                <a:ext uri="{FF2B5EF4-FFF2-40B4-BE49-F238E27FC236}">
                  <a16:creationId xmlns:a16="http://schemas.microsoft.com/office/drawing/2014/main" id="{F30A15C9-2291-7A51-6BC9-48EC830E0E4A}"/>
                </a:ext>
              </a:extLst>
            </p:cNvPr>
            <p:cNvSpPr/>
            <p:nvPr/>
          </p:nvSpPr>
          <p:spPr>
            <a:xfrm>
              <a:off x="1012926" y="2732393"/>
              <a:ext cx="45166" cy="30110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7" y="29"/>
                  </a:moveTo>
                  <a:cubicBezTo>
                    <a:pt x="5" y="29"/>
                    <a:pt x="3" y="28"/>
                    <a:pt x="2" y="26"/>
                  </a:cubicBezTo>
                  <a:cubicBezTo>
                    <a:pt x="0" y="23"/>
                    <a:pt x="1" y="20"/>
                    <a:pt x="4" y="1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5" y="0"/>
                    <a:pt x="39" y="1"/>
                    <a:pt x="41" y="4"/>
                  </a:cubicBezTo>
                  <a:cubicBezTo>
                    <a:pt x="42" y="7"/>
                    <a:pt x="41" y="11"/>
                    <a:pt x="38" y="13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9" y="29"/>
                    <a:pt x="8" y="29"/>
                    <a:pt x="7" y="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2" name="Google Shape;947;p13">
              <a:extLst>
                <a:ext uri="{FF2B5EF4-FFF2-40B4-BE49-F238E27FC236}">
                  <a16:creationId xmlns:a16="http://schemas.microsoft.com/office/drawing/2014/main" id="{9A4D577A-8301-0266-DAFC-4DBEC249FC34}"/>
                </a:ext>
              </a:extLst>
            </p:cNvPr>
            <p:cNvSpPr/>
            <p:nvPr/>
          </p:nvSpPr>
          <p:spPr>
            <a:xfrm>
              <a:off x="1317796" y="2732393"/>
              <a:ext cx="45166" cy="30110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35" y="29"/>
                  </a:moveTo>
                  <a:cubicBezTo>
                    <a:pt x="34" y="29"/>
                    <a:pt x="33" y="29"/>
                    <a:pt x="32" y="29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4" y="1"/>
                    <a:pt x="7" y="0"/>
                    <a:pt x="10" y="2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41" y="20"/>
                    <a:pt x="42" y="23"/>
                    <a:pt x="41" y="26"/>
                  </a:cubicBezTo>
                  <a:cubicBezTo>
                    <a:pt x="39" y="28"/>
                    <a:pt x="37" y="29"/>
                    <a:pt x="35" y="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3" name="Google Shape;948;p13">
              <a:extLst>
                <a:ext uri="{FF2B5EF4-FFF2-40B4-BE49-F238E27FC236}">
                  <a16:creationId xmlns:a16="http://schemas.microsoft.com/office/drawing/2014/main" id="{E303AD64-2D67-2AF4-E45D-953D15BC5897}"/>
                </a:ext>
              </a:extLst>
            </p:cNvPr>
            <p:cNvSpPr/>
            <p:nvPr/>
          </p:nvSpPr>
          <p:spPr>
            <a:xfrm>
              <a:off x="1336616" y="2619479"/>
              <a:ext cx="48932" cy="22584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6" y="19"/>
                  </a:moveTo>
                  <a:cubicBezTo>
                    <a:pt x="4" y="19"/>
                    <a:pt x="1" y="17"/>
                    <a:pt x="0" y="14"/>
                  </a:cubicBezTo>
                  <a:cubicBezTo>
                    <a:pt x="0" y="10"/>
                    <a:pt x="2" y="7"/>
                    <a:pt x="5" y="6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41" y="0"/>
                    <a:pt x="44" y="3"/>
                    <a:pt x="44" y="6"/>
                  </a:cubicBezTo>
                  <a:cubicBezTo>
                    <a:pt x="45" y="9"/>
                    <a:pt x="43" y="12"/>
                    <a:pt x="39" y="1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9"/>
                    <a:pt x="7" y="19"/>
                    <a:pt x="6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4" name="Google Shape;949;p13">
              <a:extLst>
                <a:ext uri="{FF2B5EF4-FFF2-40B4-BE49-F238E27FC236}">
                  <a16:creationId xmlns:a16="http://schemas.microsoft.com/office/drawing/2014/main" id="{8B3C3F56-5510-E686-C6BC-CDD63BF3DA27}"/>
                </a:ext>
              </a:extLst>
            </p:cNvPr>
            <p:cNvSpPr/>
            <p:nvPr/>
          </p:nvSpPr>
          <p:spPr>
            <a:xfrm>
              <a:off x="1283922" y="2506564"/>
              <a:ext cx="33877" cy="41403"/>
            </a:xfrm>
            <a:custGeom>
              <a:avLst/>
              <a:gdLst/>
              <a:ahLst/>
              <a:cxnLst/>
              <a:rect l="l" t="t" r="r" b="b"/>
              <a:pathLst>
                <a:path w="35" h="37" extrusionOk="0">
                  <a:moveTo>
                    <a:pt x="7" y="37"/>
                  </a:moveTo>
                  <a:cubicBezTo>
                    <a:pt x="6" y="37"/>
                    <a:pt x="5" y="37"/>
                    <a:pt x="3" y="36"/>
                  </a:cubicBezTo>
                  <a:cubicBezTo>
                    <a:pt x="1" y="34"/>
                    <a:pt x="0" y="30"/>
                    <a:pt x="3" y="27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6" y="0"/>
                    <a:pt x="29" y="0"/>
                    <a:pt x="32" y="2"/>
                  </a:cubicBezTo>
                  <a:cubicBezTo>
                    <a:pt x="35" y="4"/>
                    <a:pt x="35" y="8"/>
                    <a:pt x="33" y="10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7"/>
                    <a:pt x="9" y="37"/>
                    <a:pt x="7" y="3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12" name="Google Shape;950;p13">
            <a:extLst>
              <a:ext uri="{FF2B5EF4-FFF2-40B4-BE49-F238E27FC236}">
                <a16:creationId xmlns:a16="http://schemas.microsoft.com/office/drawing/2014/main" id="{83B048F9-F1EB-A2C1-876F-7CEB62087CD3}"/>
              </a:ext>
            </a:extLst>
          </p:cNvPr>
          <p:cNvSpPr/>
          <p:nvPr/>
        </p:nvSpPr>
        <p:spPr>
          <a:xfrm>
            <a:off x="5034023" y="1877145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3" name="Google Shape;951;p13">
            <a:extLst>
              <a:ext uri="{FF2B5EF4-FFF2-40B4-BE49-F238E27FC236}">
                <a16:creationId xmlns:a16="http://schemas.microsoft.com/office/drawing/2014/main" id="{86D94CD7-A244-C197-F187-63BAF99C1EE0}"/>
              </a:ext>
            </a:extLst>
          </p:cNvPr>
          <p:cNvSpPr/>
          <p:nvPr/>
        </p:nvSpPr>
        <p:spPr>
          <a:xfrm>
            <a:off x="4507862" y="1877145"/>
            <a:ext cx="1067268" cy="1067268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4" name="Google Shape;952;p13">
            <a:extLst>
              <a:ext uri="{FF2B5EF4-FFF2-40B4-BE49-F238E27FC236}">
                <a16:creationId xmlns:a16="http://schemas.microsoft.com/office/drawing/2014/main" id="{5C168140-821A-3457-0C19-4384DB3F2442}"/>
              </a:ext>
            </a:extLst>
          </p:cNvPr>
          <p:cNvSpPr txBox="1"/>
          <p:nvPr/>
        </p:nvSpPr>
        <p:spPr>
          <a:xfrm>
            <a:off x="5634362" y="247685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5" name="Google Shape;953;p13">
            <a:extLst>
              <a:ext uri="{FF2B5EF4-FFF2-40B4-BE49-F238E27FC236}">
                <a16:creationId xmlns:a16="http://schemas.microsoft.com/office/drawing/2014/main" id="{DFBE76BA-6941-2BB0-05C5-5CCA982CB952}"/>
              </a:ext>
            </a:extLst>
          </p:cNvPr>
          <p:cNvSpPr txBox="1"/>
          <p:nvPr/>
        </p:nvSpPr>
        <p:spPr>
          <a:xfrm>
            <a:off x="5634362" y="213980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1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6" name="Google Shape;954;p13">
            <a:extLst>
              <a:ext uri="{FF2B5EF4-FFF2-40B4-BE49-F238E27FC236}">
                <a16:creationId xmlns:a16="http://schemas.microsoft.com/office/drawing/2014/main" id="{5ED29EC4-551B-955F-789A-224129964CEA}"/>
              </a:ext>
            </a:extLst>
          </p:cNvPr>
          <p:cNvSpPr/>
          <p:nvPr/>
        </p:nvSpPr>
        <p:spPr>
          <a:xfrm>
            <a:off x="4352217" y="2255134"/>
            <a:ext cx="333522" cy="333522"/>
          </a:xfrm>
          <a:prstGeom prst="ellipse">
            <a:avLst/>
          </a:prstGeom>
          <a:solidFill>
            <a:schemeClr val="bg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2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17" name="Google Shape;955;p13">
            <a:extLst>
              <a:ext uri="{FF2B5EF4-FFF2-40B4-BE49-F238E27FC236}">
                <a16:creationId xmlns:a16="http://schemas.microsoft.com/office/drawing/2014/main" id="{2A0F3CB4-BC74-E795-6286-1D4C8062A560}"/>
              </a:ext>
            </a:extLst>
          </p:cNvPr>
          <p:cNvCxnSpPr>
            <a:stCxn id="13" idx="3"/>
          </p:cNvCxnSpPr>
          <p:nvPr/>
        </p:nvCxnSpPr>
        <p:spPr>
          <a:xfrm>
            <a:off x="5575127" y="2410778"/>
            <a:ext cx="125603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" name="Google Shape;956;p13">
            <a:extLst>
              <a:ext uri="{FF2B5EF4-FFF2-40B4-BE49-F238E27FC236}">
                <a16:creationId xmlns:a16="http://schemas.microsoft.com/office/drawing/2014/main" id="{0BC4F23C-EF3D-6EFF-6303-CDA371CE2ACE}"/>
              </a:ext>
            </a:extLst>
          </p:cNvPr>
          <p:cNvSpPr/>
          <p:nvPr/>
        </p:nvSpPr>
        <p:spPr>
          <a:xfrm>
            <a:off x="8759918" y="1877145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9" name="Google Shape;957;p13">
            <a:extLst>
              <a:ext uri="{FF2B5EF4-FFF2-40B4-BE49-F238E27FC236}">
                <a16:creationId xmlns:a16="http://schemas.microsoft.com/office/drawing/2014/main" id="{1D2A0466-70F7-7189-954C-B23C8710C5F4}"/>
              </a:ext>
            </a:extLst>
          </p:cNvPr>
          <p:cNvSpPr/>
          <p:nvPr/>
        </p:nvSpPr>
        <p:spPr>
          <a:xfrm>
            <a:off x="8233757" y="1877145"/>
            <a:ext cx="1067268" cy="1067268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0" name="Google Shape;958;p13">
            <a:extLst>
              <a:ext uri="{FF2B5EF4-FFF2-40B4-BE49-F238E27FC236}">
                <a16:creationId xmlns:a16="http://schemas.microsoft.com/office/drawing/2014/main" id="{DE8DD4B5-C1AF-274E-C223-E21F4DB1E19B}"/>
              </a:ext>
            </a:extLst>
          </p:cNvPr>
          <p:cNvSpPr txBox="1"/>
          <p:nvPr/>
        </p:nvSpPr>
        <p:spPr>
          <a:xfrm>
            <a:off x="9360258" y="247685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" name="Google Shape;959;p13">
            <a:extLst>
              <a:ext uri="{FF2B5EF4-FFF2-40B4-BE49-F238E27FC236}">
                <a16:creationId xmlns:a16="http://schemas.microsoft.com/office/drawing/2014/main" id="{ED33BA6C-D0B6-49D4-F49C-D18ECD51AC4A}"/>
              </a:ext>
            </a:extLst>
          </p:cNvPr>
          <p:cNvSpPr txBox="1"/>
          <p:nvPr/>
        </p:nvSpPr>
        <p:spPr>
          <a:xfrm>
            <a:off x="9360258" y="213980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2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2" name="Google Shape;960;p13">
            <a:extLst>
              <a:ext uri="{FF2B5EF4-FFF2-40B4-BE49-F238E27FC236}">
                <a16:creationId xmlns:a16="http://schemas.microsoft.com/office/drawing/2014/main" id="{3DB88F48-46EB-BC45-0C5A-01B05FEC8322}"/>
              </a:ext>
            </a:extLst>
          </p:cNvPr>
          <p:cNvSpPr/>
          <p:nvPr/>
        </p:nvSpPr>
        <p:spPr>
          <a:xfrm>
            <a:off x="8078113" y="2255134"/>
            <a:ext cx="333522" cy="333522"/>
          </a:xfrm>
          <a:prstGeom prst="ellipse">
            <a:avLst/>
          </a:prstGeom>
          <a:solidFill>
            <a:schemeClr val="bg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3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23" name="Google Shape;961;p13">
            <a:extLst>
              <a:ext uri="{FF2B5EF4-FFF2-40B4-BE49-F238E27FC236}">
                <a16:creationId xmlns:a16="http://schemas.microsoft.com/office/drawing/2014/main" id="{5AD5B1ED-CEE6-4937-C910-A0345FEC290E}"/>
              </a:ext>
            </a:extLst>
          </p:cNvPr>
          <p:cNvCxnSpPr>
            <a:stCxn id="19" idx="3"/>
          </p:cNvCxnSpPr>
          <p:nvPr/>
        </p:nvCxnSpPr>
        <p:spPr>
          <a:xfrm>
            <a:off x="9301021" y="2410778"/>
            <a:ext cx="125603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A33A0CD-39AD-3B08-8400-20C9A07699B1}"/>
              </a:ext>
            </a:extLst>
          </p:cNvPr>
          <p:cNvGrpSpPr/>
          <p:nvPr/>
        </p:nvGrpSpPr>
        <p:grpSpPr>
          <a:xfrm>
            <a:off x="8586573" y="2228154"/>
            <a:ext cx="361638" cy="365252"/>
            <a:chOff x="8757315" y="2485864"/>
            <a:chExt cx="376386" cy="380147"/>
          </a:xfrm>
        </p:grpSpPr>
        <p:sp>
          <p:nvSpPr>
            <p:cNvPr id="83" name="Google Shape;963;p13">
              <a:extLst>
                <a:ext uri="{FF2B5EF4-FFF2-40B4-BE49-F238E27FC236}">
                  <a16:creationId xmlns:a16="http://schemas.microsoft.com/office/drawing/2014/main" id="{E08B312C-860C-94DA-842A-9E20410D0823}"/>
                </a:ext>
              </a:extLst>
            </p:cNvPr>
            <p:cNvSpPr/>
            <p:nvPr/>
          </p:nvSpPr>
          <p:spPr>
            <a:xfrm>
              <a:off x="8757315" y="2485864"/>
              <a:ext cx="293581" cy="297343"/>
            </a:xfrm>
            <a:custGeom>
              <a:avLst/>
              <a:gdLst/>
              <a:ahLst/>
              <a:cxnLst/>
              <a:rect l="l" t="t" r="r" b="b"/>
              <a:pathLst>
                <a:path w="285" h="285" extrusionOk="0">
                  <a:moveTo>
                    <a:pt x="142" y="285"/>
                  </a:moveTo>
                  <a:cubicBezTo>
                    <a:pt x="64" y="285"/>
                    <a:pt x="0" y="221"/>
                    <a:pt x="0" y="143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3"/>
                  </a:cubicBezTo>
                  <a:cubicBezTo>
                    <a:pt x="285" y="221"/>
                    <a:pt x="221" y="285"/>
                    <a:pt x="142" y="285"/>
                  </a:cubicBezTo>
                  <a:close/>
                  <a:moveTo>
                    <a:pt x="142" y="12"/>
                  </a:moveTo>
                  <a:cubicBezTo>
                    <a:pt x="70" y="12"/>
                    <a:pt x="12" y="71"/>
                    <a:pt x="12" y="143"/>
                  </a:cubicBezTo>
                  <a:cubicBezTo>
                    <a:pt x="12" y="214"/>
                    <a:pt x="70" y="273"/>
                    <a:pt x="142" y="273"/>
                  </a:cubicBezTo>
                  <a:cubicBezTo>
                    <a:pt x="214" y="273"/>
                    <a:pt x="273" y="214"/>
                    <a:pt x="273" y="143"/>
                  </a:cubicBezTo>
                  <a:cubicBezTo>
                    <a:pt x="273" y="71"/>
                    <a:pt x="214" y="12"/>
                    <a:pt x="14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4" name="Google Shape;964;p13">
              <a:extLst>
                <a:ext uri="{FF2B5EF4-FFF2-40B4-BE49-F238E27FC236}">
                  <a16:creationId xmlns:a16="http://schemas.microsoft.com/office/drawing/2014/main" id="{C7660160-CE11-0713-89C7-B8EE3AA78C5D}"/>
                </a:ext>
              </a:extLst>
            </p:cNvPr>
            <p:cNvSpPr/>
            <p:nvPr/>
          </p:nvSpPr>
          <p:spPr>
            <a:xfrm>
              <a:off x="8983148" y="2711693"/>
              <a:ext cx="150553" cy="154318"/>
            </a:xfrm>
            <a:custGeom>
              <a:avLst/>
              <a:gdLst/>
              <a:ahLst/>
              <a:cxnLst/>
              <a:rect l="l" t="t" r="r" b="b"/>
              <a:pathLst>
                <a:path w="145" h="146" extrusionOk="0">
                  <a:moveTo>
                    <a:pt x="119" y="146"/>
                  </a:moveTo>
                  <a:cubicBezTo>
                    <a:pt x="112" y="146"/>
                    <a:pt x="105" y="143"/>
                    <a:pt x="100" y="1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38"/>
                    <a:pt x="0" y="34"/>
                    <a:pt x="2" y="3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4" y="0"/>
                    <a:pt x="38" y="0"/>
                    <a:pt x="40" y="3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43" y="105"/>
                    <a:pt x="145" y="112"/>
                    <a:pt x="145" y="119"/>
                  </a:cubicBezTo>
                  <a:cubicBezTo>
                    <a:pt x="145" y="126"/>
                    <a:pt x="143" y="133"/>
                    <a:pt x="138" y="138"/>
                  </a:cubicBezTo>
                  <a:cubicBezTo>
                    <a:pt x="132" y="143"/>
                    <a:pt x="126" y="146"/>
                    <a:pt x="119" y="146"/>
                  </a:cubicBezTo>
                  <a:close/>
                  <a:moveTo>
                    <a:pt x="15" y="36"/>
                  </a:moveTo>
                  <a:cubicBezTo>
                    <a:pt x="109" y="129"/>
                    <a:pt x="109" y="129"/>
                    <a:pt x="109" y="129"/>
                  </a:cubicBezTo>
                  <a:cubicBezTo>
                    <a:pt x="109" y="129"/>
                    <a:pt x="109" y="129"/>
                    <a:pt x="109" y="129"/>
                  </a:cubicBezTo>
                  <a:cubicBezTo>
                    <a:pt x="114" y="135"/>
                    <a:pt x="123" y="135"/>
                    <a:pt x="129" y="129"/>
                  </a:cubicBezTo>
                  <a:cubicBezTo>
                    <a:pt x="132" y="126"/>
                    <a:pt x="133" y="123"/>
                    <a:pt x="133" y="119"/>
                  </a:cubicBezTo>
                  <a:cubicBezTo>
                    <a:pt x="133" y="115"/>
                    <a:pt x="132" y="112"/>
                    <a:pt x="129" y="109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15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5" name="Google Shape;965;p13">
              <a:extLst>
                <a:ext uri="{FF2B5EF4-FFF2-40B4-BE49-F238E27FC236}">
                  <a16:creationId xmlns:a16="http://schemas.microsoft.com/office/drawing/2014/main" id="{52DB2C61-B8B2-DC65-1518-9655883DB382}"/>
                </a:ext>
              </a:extLst>
            </p:cNvPr>
            <p:cNvSpPr/>
            <p:nvPr/>
          </p:nvSpPr>
          <p:spPr>
            <a:xfrm>
              <a:off x="8806244" y="2534793"/>
              <a:ext cx="105388" cy="105386"/>
            </a:xfrm>
            <a:custGeom>
              <a:avLst/>
              <a:gdLst/>
              <a:ahLst/>
              <a:cxnLst/>
              <a:rect l="l" t="t" r="r" b="b"/>
              <a:pathLst>
                <a:path w="99" h="100" extrusionOk="0">
                  <a:moveTo>
                    <a:pt x="6" y="100"/>
                  </a:moveTo>
                  <a:cubicBezTo>
                    <a:pt x="3" y="100"/>
                    <a:pt x="0" y="97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7" y="0"/>
                    <a:pt x="99" y="3"/>
                    <a:pt x="99" y="6"/>
                  </a:cubicBezTo>
                  <a:cubicBezTo>
                    <a:pt x="99" y="10"/>
                    <a:pt x="97" y="12"/>
                    <a:pt x="93" y="12"/>
                  </a:cubicBezTo>
                  <a:cubicBezTo>
                    <a:pt x="48" y="12"/>
                    <a:pt x="12" y="49"/>
                    <a:pt x="12" y="94"/>
                  </a:cubicBezTo>
                  <a:cubicBezTo>
                    <a:pt x="12" y="97"/>
                    <a:pt x="9" y="100"/>
                    <a:pt x="6" y="10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F29239C-2092-75FC-F10E-65BE355FDAEB}"/>
              </a:ext>
            </a:extLst>
          </p:cNvPr>
          <p:cNvGrpSpPr/>
          <p:nvPr/>
        </p:nvGrpSpPr>
        <p:grpSpPr>
          <a:xfrm>
            <a:off x="4819029" y="2241774"/>
            <a:ext cx="444931" cy="338010"/>
            <a:chOff x="4836129" y="2500040"/>
            <a:chExt cx="463076" cy="351794"/>
          </a:xfrm>
        </p:grpSpPr>
        <p:sp>
          <p:nvSpPr>
            <p:cNvPr id="75" name="Google Shape;967;p13">
              <a:extLst>
                <a:ext uri="{FF2B5EF4-FFF2-40B4-BE49-F238E27FC236}">
                  <a16:creationId xmlns:a16="http://schemas.microsoft.com/office/drawing/2014/main" id="{90B6006A-9002-482C-4920-7F9672296FCE}"/>
                </a:ext>
              </a:extLst>
            </p:cNvPr>
            <p:cNvSpPr/>
            <p:nvPr/>
          </p:nvSpPr>
          <p:spPr>
            <a:xfrm>
              <a:off x="4986897" y="2500040"/>
              <a:ext cx="157949" cy="53848"/>
            </a:xfrm>
            <a:custGeom>
              <a:avLst/>
              <a:gdLst/>
              <a:ahLst/>
              <a:cxnLst/>
              <a:rect l="l" t="t" r="r" b="b"/>
              <a:pathLst>
                <a:path w="158" h="54" extrusionOk="0">
                  <a:moveTo>
                    <a:pt x="151" y="54"/>
                  </a:moveTo>
                  <a:cubicBezTo>
                    <a:pt x="8" y="54"/>
                    <a:pt x="8" y="54"/>
                    <a:pt x="8" y="54"/>
                  </a:cubicBezTo>
                  <a:cubicBezTo>
                    <a:pt x="4" y="54"/>
                    <a:pt x="0" y="51"/>
                    <a:pt x="0" y="4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45" y="0"/>
                    <a:pt x="158" y="12"/>
                    <a:pt x="158" y="28"/>
                  </a:cubicBezTo>
                  <a:cubicBezTo>
                    <a:pt x="158" y="47"/>
                    <a:pt x="158" y="47"/>
                    <a:pt x="158" y="47"/>
                  </a:cubicBezTo>
                  <a:cubicBezTo>
                    <a:pt x="158" y="51"/>
                    <a:pt x="155" y="54"/>
                    <a:pt x="151" y="54"/>
                  </a:cubicBezTo>
                  <a:close/>
                  <a:moveTo>
                    <a:pt x="15" y="40"/>
                  </a:moveTo>
                  <a:cubicBezTo>
                    <a:pt x="143" y="40"/>
                    <a:pt x="143" y="40"/>
                    <a:pt x="143" y="40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0"/>
                    <a:pt x="137" y="14"/>
                    <a:pt x="1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1" y="14"/>
                    <a:pt x="15" y="20"/>
                    <a:pt x="15" y="28"/>
                  </a:cubicBezTo>
                  <a:lnTo>
                    <a:pt x="15" y="4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6" name="Google Shape;968;p13">
              <a:extLst>
                <a:ext uri="{FF2B5EF4-FFF2-40B4-BE49-F238E27FC236}">
                  <a16:creationId xmlns:a16="http://schemas.microsoft.com/office/drawing/2014/main" id="{8BBE826D-9FD0-5D7B-9285-530E0AA20C67}"/>
                </a:ext>
              </a:extLst>
            </p:cNvPr>
            <p:cNvSpPr/>
            <p:nvPr/>
          </p:nvSpPr>
          <p:spPr>
            <a:xfrm>
              <a:off x="4854078" y="2679527"/>
              <a:ext cx="423588" cy="172307"/>
            </a:xfrm>
            <a:custGeom>
              <a:avLst/>
              <a:gdLst/>
              <a:ahLst/>
              <a:cxnLst/>
              <a:rect l="l" t="t" r="r" b="b"/>
              <a:pathLst>
                <a:path w="428" h="174" extrusionOk="0">
                  <a:moveTo>
                    <a:pt x="399" y="174"/>
                  </a:moveTo>
                  <a:cubicBezTo>
                    <a:pt x="30" y="174"/>
                    <a:pt x="30" y="174"/>
                    <a:pt x="30" y="174"/>
                  </a:cubicBezTo>
                  <a:cubicBezTo>
                    <a:pt x="13" y="174"/>
                    <a:pt x="0" y="160"/>
                    <a:pt x="0" y="14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1" y="4"/>
                    <a:pt x="2" y="2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6" y="17"/>
                    <a:pt x="98" y="20"/>
                    <a:pt x="98" y="24"/>
                  </a:cubicBezTo>
                  <a:cubicBezTo>
                    <a:pt x="98" y="63"/>
                    <a:pt x="98" y="63"/>
                    <a:pt x="98" y="63"/>
                  </a:cubicBezTo>
                  <a:cubicBezTo>
                    <a:pt x="124" y="63"/>
                    <a:pt x="124" y="63"/>
                    <a:pt x="124" y="63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4" y="29"/>
                    <a:pt x="125" y="27"/>
                    <a:pt x="127" y="26"/>
                  </a:cubicBezTo>
                  <a:cubicBezTo>
                    <a:pt x="128" y="24"/>
                    <a:pt x="131" y="24"/>
                    <a:pt x="133" y="24"/>
                  </a:cubicBezTo>
                  <a:cubicBezTo>
                    <a:pt x="214" y="39"/>
                    <a:pt x="214" y="39"/>
                    <a:pt x="214" y="39"/>
                  </a:cubicBezTo>
                  <a:cubicBezTo>
                    <a:pt x="295" y="24"/>
                    <a:pt x="295" y="24"/>
                    <a:pt x="295" y="24"/>
                  </a:cubicBezTo>
                  <a:cubicBezTo>
                    <a:pt x="297" y="24"/>
                    <a:pt x="300" y="24"/>
                    <a:pt x="301" y="26"/>
                  </a:cubicBezTo>
                  <a:cubicBezTo>
                    <a:pt x="303" y="27"/>
                    <a:pt x="304" y="29"/>
                    <a:pt x="304" y="31"/>
                  </a:cubicBezTo>
                  <a:cubicBezTo>
                    <a:pt x="304" y="63"/>
                    <a:pt x="304" y="63"/>
                    <a:pt x="304" y="63"/>
                  </a:cubicBezTo>
                  <a:cubicBezTo>
                    <a:pt x="330" y="63"/>
                    <a:pt x="330" y="63"/>
                    <a:pt x="330" y="63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0"/>
                    <a:pt x="332" y="17"/>
                    <a:pt x="336" y="17"/>
                  </a:cubicBezTo>
                  <a:cubicBezTo>
                    <a:pt x="420" y="1"/>
                    <a:pt x="420" y="1"/>
                    <a:pt x="420" y="1"/>
                  </a:cubicBezTo>
                  <a:cubicBezTo>
                    <a:pt x="422" y="0"/>
                    <a:pt x="424" y="1"/>
                    <a:pt x="426" y="2"/>
                  </a:cubicBezTo>
                  <a:cubicBezTo>
                    <a:pt x="428" y="4"/>
                    <a:pt x="428" y="6"/>
                    <a:pt x="428" y="8"/>
                  </a:cubicBezTo>
                  <a:cubicBezTo>
                    <a:pt x="428" y="144"/>
                    <a:pt x="428" y="144"/>
                    <a:pt x="428" y="144"/>
                  </a:cubicBezTo>
                  <a:cubicBezTo>
                    <a:pt x="428" y="160"/>
                    <a:pt x="415" y="174"/>
                    <a:pt x="399" y="174"/>
                  </a:cubicBezTo>
                  <a:close/>
                  <a:moveTo>
                    <a:pt x="14" y="17"/>
                  </a:moveTo>
                  <a:cubicBezTo>
                    <a:pt x="14" y="144"/>
                    <a:pt x="14" y="144"/>
                    <a:pt x="14" y="144"/>
                  </a:cubicBezTo>
                  <a:cubicBezTo>
                    <a:pt x="14" y="152"/>
                    <a:pt x="21" y="159"/>
                    <a:pt x="30" y="159"/>
                  </a:cubicBezTo>
                  <a:cubicBezTo>
                    <a:pt x="399" y="159"/>
                    <a:pt x="399" y="159"/>
                    <a:pt x="399" y="159"/>
                  </a:cubicBezTo>
                  <a:cubicBezTo>
                    <a:pt x="407" y="159"/>
                    <a:pt x="414" y="152"/>
                    <a:pt x="414" y="144"/>
                  </a:cubicBezTo>
                  <a:cubicBezTo>
                    <a:pt x="414" y="17"/>
                    <a:pt x="414" y="17"/>
                    <a:pt x="414" y="17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44" y="70"/>
                    <a:pt x="344" y="70"/>
                    <a:pt x="344" y="70"/>
                  </a:cubicBezTo>
                  <a:cubicBezTo>
                    <a:pt x="344" y="74"/>
                    <a:pt x="341" y="77"/>
                    <a:pt x="337" y="77"/>
                  </a:cubicBezTo>
                  <a:cubicBezTo>
                    <a:pt x="297" y="77"/>
                    <a:pt x="297" y="77"/>
                    <a:pt x="297" y="77"/>
                  </a:cubicBezTo>
                  <a:cubicBezTo>
                    <a:pt x="293" y="77"/>
                    <a:pt x="289" y="74"/>
                    <a:pt x="289" y="70"/>
                  </a:cubicBezTo>
                  <a:cubicBezTo>
                    <a:pt x="289" y="40"/>
                    <a:pt x="289" y="40"/>
                    <a:pt x="289" y="40"/>
                  </a:cubicBezTo>
                  <a:cubicBezTo>
                    <a:pt x="215" y="54"/>
                    <a:pt x="215" y="54"/>
                    <a:pt x="215" y="54"/>
                  </a:cubicBezTo>
                  <a:cubicBezTo>
                    <a:pt x="214" y="54"/>
                    <a:pt x="214" y="54"/>
                    <a:pt x="213" y="54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9" y="74"/>
                    <a:pt x="135" y="77"/>
                    <a:pt x="131" y="77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87" y="77"/>
                    <a:pt x="84" y="74"/>
                    <a:pt x="84" y="70"/>
                  </a:cubicBezTo>
                  <a:cubicBezTo>
                    <a:pt x="84" y="30"/>
                    <a:pt x="84" y="30"/>
                    <a:pt x="84" y="30"/>
                  </a:cubicBezTo>
                  <a:lnTo>
                    <a:pt x="14" y="1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7" name="Google Shape;969;p13">
              <a:extLst>
                <a:ext uri="{FF2B5EF4-FFF2-40B4-BE49-F238E27FC236}">
                  <a16:creationId xmlns:a16="http://schemas.microsoft.com/office/drawing/2014/main" id="{6838D6B8-5653-62B6-D376-91DCC9BAAA77}"/>
                </a:ext>
              </a:extLst>
            </p:cNvPr>
            <p:cNvSpPr/>
            <p:nvPr/>
          </p:nvSpPr>
          <p:spPr>
            <a:xfrm>
              <a:off x="4836129" y="2539527"/>
              <a:ext cx="463076" cy="193846"/>
            </a:xfrm>
            <a:custGeom>
              <a:avLst/>
              <a:gdLst/>
              <a:ahLst/>
              <a:cxnLst/>
              <a:rect l="l" t="t" r="r" b="b"/>
              <a:pathLst>
                <a:path w="466" h="196" extrusionOk="0">
                  <a:moveTo>
                    <a:pt x="233" y="196"/>
                  </a:moveTo>
                  <a:cubicBezTo>
                    <a:pt x="233" y="196"/>
                    <a:pt x="232" y="196"/>
                    <a:pt x="232" y="196"/>
                  </a:cubicBezTo>
                  <a:cubicBezTo>
                    <a:pt x="149" y="180"/>
                    <a:pt x="149" y="180"/>
                    <a:pt x="149" y="180"/>
                  </a:cubicBezTo>
                  <a:cubicBezTo>
                    <a:pt x="146" y="180"/>
                    <a:pt x="143" y="177"/>
                    <a:pt x="143" y="173"/>
                  </a:cubicBezTo>
                  <a:cubicBezTo>
                    <a:pt x="143" y="142"/>
                    <a:pt x="143" y="142"/>
                    <a:pt x="143" y="142"/>
                  </a:cubicBezTo>
                  <a:cubicBezTo>
                    <a:pt x="117" y="142"/>
                    <a:pt x="117" y="142"/>
                    <a:pt x="117" y="142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7" y="168"/>
                    <a:pt x="116" y="170"/>
                    <a:pt x="115" y="171"/>
                  </a:cubicBezTo>
                  <a:cubicBezTo>
                    <a:pt x="113" y="173"/>
                    <a:pt x="111" y="173"/>
                    <a:pt x="109" y="173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10" y="154"/>
                    <a:pt x="0" y="142"/>
                    <a:pt x="0" y="12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36" y="0"/>
                    <a:pt x="436" y="0"/>
                    <a:pt x="436" y="0"/>
                  </a:cubicBezTo>
                  <a:cubicBezTo>
                    <a:pt x="453" y="0"/>
                    <a:pt x="466" y="13"/>
                    <a:pt x="466" y="30"/>
                  </a:cubicBezTo>
                  <a:cubicBezTo>
                    <a:pt x="466" y="128"/>
                    <a:pt x="466" y="128"/>
                    <a:pt x="466" y="128"/>
                  </a:cubicBezTo>
                  <a:cubicBezTo>
                    <a:pt x="466" y="142"/>
                    <a:pt x="456" y="154"/>
                    <a:pt x="442" y="157"/>
                  </a:cubicBezTo>
                  <a:cubicBezTo>
                    <a:pt x="357" y="173"/>
                    <a:pt x="357" y="173"/>
                    <a:pt x="357" y="173"/>
                  </a:cubicBezTo>
                  <a:cubicBezTo>
                    <a:pt x="355" y="173"/>
                    <a:pt x="353" y="173"/>
                    <a:pt x="351" y="171"/>
                  </a:cubicBezTo>
                  <a:cubicBezTo>
                    <a:pt x="350" y="170"/>
                    <a:pt x="349" y="168"/>
                    <a:pt x="349" y="166"/>
                  </a:cubicBezTo>
                  <a:cubicBezTo>
                    <a:pt x="349" y="142"/>
                    <a:pt x="349" y="142"/>
                    <a:pt x="349" y="142"/>
                  </a:cubicBezTo>
                  <a:cubicBezTo>
                    <a:pt x="323" y="142"/>
                    <a:pt x="323" y="142"/>
                    <a:pt x="323" y="142"/>
                  </a:cubicBezTo>
                  <a:cubicBezTo>
                    <a:pt x="323" y="173"/>
                    <a:pt x="323" y="173"/>
                    <a:pt x="323" y="173"/>
                  </a:cubicBezTo>
                  <a:cubicBezTo>
                    <a:pt x="323" y="177"/>
                    <a:pt x="320" y="180"/>
                    <a:pt x="317" y="180"/>
                  </a:cubicBezTo>
                  <a:cubicBezTo>
                    <a:pt x="234" y="196"/>
                    <a:pt x="234" y="196"/>
                    <a:pt x="234" y="196"/>
                  </a:cubicBezTo>
                  <a:cubicBezTo>
                    <a:pt x="234" y="196"/>
                    <a:pt x="233" y="196"/>
                    <a:pt x="233" y="196"/>
                  </a:cubicBezTo>
                  <a:close/>
                  <a:moveTo>
                    <a:pt x="158" y="167"/>
                  </a:moveTo>
                  <a:cubicBezTo>
                    <a:pt x="233" y="181"/>
                    <a:pt x="233" y="181"/>
                    <a:pt x="233" y="181"/>
                  </a:cubicBezTo>
                  <a:cubicBezTo>
                    <a:pt x="308" y="167"/>
                    <a:pt x="308" y="167"/>
                    <a:pt x="308" y="167"/>
                  </a:cubicBezTo>
                  <a:cubicBezTo>
                    <a:pt x="308" y="135"/>
                    <a:pt x="308" y="135"/>
                    <a:pt x="308" y="135"/>
                  </a:cubicBezTo>
                  <a:cubicBezTo>
                    <a:pt x="308" y="131"/>
                    <a:pt x="312" y="127"/>
                    <a:pt x="316" y="127"/>
                  </a:cubicBezTo>
                  <a:cubicBezTo>
                    <a:pt x="356" y="127"/>
                    <a:pt x="356" y="127"/>
                    <a:pt x="356" y="127"/>
                  </a:cubicBezTo>
                  <a:cubicBezTo>
                    <a:pt x="360" y="127"/>
                    <a:pt x="363" y="131"/>
                    <a:pt x="363" y="135"/>
                  </a:cubicBezTo>
                  <a:cubicBezTo>
                    <a:pt x="363" y="157"/>
                    <a:pt x="363" y="157"/>
                    <a:pt x="363" y="157"/>
                  </a:cubicBezTo>
                  <a:cubicBezTo>
                    <a:pt x="439" y="143"/>
                    <a:pt x="439" y="143"/>
                    <a:pt x="439" y="143"/>
                  </a:cubicBezTo>
                  <a:cubicBezTo>
                    <a:pt x="446" y="142"/>
                    <a:pt x="451" y="135"/>
                    <a:pt x="451" y="128"/>
                  </a:cubicBezTo>
                  <a:cubicBezTo>
                    <a:pt x="451" y="30"/>
                    <a:pt x="451" y="30"/>
                    <a:pt x="451" y="30"/>
                  </a:cubicBezTo>
                  <a:cubicBezTo>
                    <a:pt x="451" y="21"/>
                    <a:pt x="445" y="14"/>
                    <a:pt x="436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2" y="14"/>
                    <a:pt x="15" y="21"/>
                    <a:pt x="15" y="30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35"/>
                    <a:pt x="20" y="142"/>
                    <a:pt x="27" y="143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3" y="135"/>
                    <a:pt x="103" y="135"/>
                    <a:pt x="103" y="135"/>
                  </a:cubicBezTo>
                  <a:cubicBezTo>
                    <a:pt x="103" y="131"/>
                    <a:pt x="106" y="127"/>
                    <a:pt x="110" y="127"/>
                  </a:cubicBezTo>
                  <a:cubicBezTo>
                    <a:pt x="150" y="127"/>
                    <a:pt x="150" y="127"/>
                    <a:pt x="150" y="127"/>
                  </a:cubicBezTo>
                  <a:cubicBezTo>
                    <a:pt x="154" y="127"/>
                    <a:pt x="158" y="131"/>
                    <a:pt x="158" y="135"/>
                  </a:cubicBezTo>
                  <a:lnTo>
                    <a:pt x="158" y="16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8" name="Google Shape;970;p13">
              <a:extLst>
                <a:ext uri="{FF2B5EF4-FFF2-40B4-BE49-F238E27FC236}">
                  <a16:creationId xmlns:a16="http://schemas.microsoft.com/office/drawing/2014/main" id="{C0895DE8-545F-8C64-E41A-E11F279E2B65}"/>
                </a:ext>
              </a:extLst>
            </p:cNvPr>
            <p:cNvSpPr/>
            <p:nvPr/>
          </p:nvSpPr>
          <p:spPr>
            <a:xfrm>
              <a:off x="5058693" y="2701066"/>
              <a:ext cx="96925" cy="32309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8" y="31"/>
                  </a:moveTo>
                  <a:cubicBezTo>
                    <a:pt x="5" y="31"/>
                    <a:pt x="2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93" y="0"/>
                    <a:pt x="97" y="3"/>
                    <a:pt x="98" y="7"/>
                  </a:cubicBezTo>
                  <a:cubicBezTo>
                    <a:pt x="98" y="7"/>
                    <a:pt x="98" y="8"/>
                    <a:pt x="98" y="8"/>
                  </a:cubicBezTo>
                  <a:cubicBezTo>
                    <a:pt x="98" y="11"/>
                    <a:pt x="96" y="14"/>
                    <a:pt x="93" y="15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93" y="15"/>
                    <a:pt x="92" y="15"/>
                    <a:pt x="92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9" name="Google Shape;971;p13">
              <a:extLst>
                <a:ext uri="{FF2B5EF4-FFF2-40B4-BE49-F238E27FC236}">
                  <a16:creationId xmlns:a16="http://schemas.microsoft.com/office/drawing/2014/main" id="{35F89F09-2043-1003-1195-B6849EF8C9D0}"/>
                </a:ext>
              </a:extLst>
            </p:cNvPr>
            <p:cNvSpPr/>
            <p:nvPr/>
          </p:nvSpPr>
          <p:spPr>
            <a:xfrm>
              <a:off x="4854078" y="2679527"/>
              <a:ext cx="96925" cy="32309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91" y="31"/>
                  </a:moveTo>
                  <a:cubicBezTo>
                    <a:pt x="91" y="31"/>
                    <a:pt x="90" y="31"/>
                    <a:pt x="90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2" y="14"/>
                    <a:pt x="0" y="11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0" y="3"/>
                    <a:pt x="4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3" y="17"/>
                    <a:pt x="93" y="17"/>
                    <a:pt x="94" y="17"/>
                  </a:cubicBezTo>
                  <a:cubicBezTo>
                    <a:pt x="96" y="18"/>
                    <a:pt x="98" y="21"/>
                    <a:pt x="98" y="24"/>
                  </a:cubicBezTo>
                  <a:cubicBezTo>
                    <a:pt x="98" y="24"/>
                    <a:pt x="98" y="25"/>
                    <a:pt x="98" y="25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98" y="28"/>
                    <a:pt x="96" y="29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3" y="31"/>
                    <a:pt x="92" y="31"/>
                    <a:pt x="91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0" name="Google Shape;972;p13">
              <a:extLst>
                <a:ext uri="{FF2B5EF4-FFF2-40B4-BE49-F238E27FC236}">
                  <a16:creationId xmlns:a16="http://schemas.microsoft.com/office/drawing/2014/main" id="{4B7E4AC8-BE2A-7B81-9CBE-10EA77168053}"/>
                </a:ext>
              </a:extLst>
            </p:cNvPr>
            <p:cNvSpPr/>
            <p:nvPr/>
          </p:nvSpPr>
          <p:spPr>
            <a:xfrm>
              <a:off x="4976129" y="2701066"/>
              <a:ext cx="96925" cy="32309"/>
            </a:xfrm>
            <a:custGeom>
              <a:avLst/>
              <a:gdLst/>
              <a:ahLst/>
              <a:cxnLst/>
              <a:rect l="l" t="t" r="r" b="b"/>
              <a:pathLst>
                <a:path w="97" h="31" extrusionOk="0">
                  <a:moveTo>
                    <a:pt x="90" y="31"/>
                  </a:moveTo>
                  <a:cubicBezTo>
                    <a:pt x="90" y="31"/>
                    <a:pt x="89" y="31"/>
                    <a:pt x="89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3" y="15"/>
                    <a:pt x="0" y="12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1" y="3"/>
                    <a:pt x="5" y="0"/>
                    <a:pt x="9" y="1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5" y="17"/>
                    <a:pt x="97" y="20"/>
                    <a:pt x="97" y="24"/>
                  </a:cubicBezTo>
                  <a:cubicBezTo>
                    <a:pt x="97" y="24"/>
                    <a:pt x="97" y="25"/>
                    <a:pt x="97" y="25"/>
                  </a:cubicBezTo>
                  <a:cubicBezTo>
                    <a:pt x="97" y="29"/>
                    <a:pt x="93" y="31"/>
                    <a:pt x="90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1" name="Google Shape;973;p13">
              <a:extLst>
                <a:ext uri="{FF2B5EF4-FFF2-40B4-BE49-F238E27FC236}">
                  <a16:creationId xmlns:a16="http://schemas.microsoft.com/office/drawing/2014/main" id="{0546D55A-E869-3433-761B-D8587FBE7F17}"/>
                </a:ext>
              </a:extLst>
            </p:cNvPr>
            <p:cNvSpPr/>
            <p:nvPr/>
          </p:nvSpPr>
          <p:spPr>
            <a:xfrm>
              <a:off x="5180743" y="2679527"/>
              <a:ext cx="100513" cy="32309"/>
            </a:xfrm>
            <a:custGeom>
              <a:avLst/>
              <a:gdLst/>
              <a:ahLst/>
              <a:cxnLst/>
              <a:rect l="l" t="t" r="r" b="b"/>
              <a:pathLst>
                <a:path w="100" h="31" extrusionOk="0">
                  <a:moveTo>
                    <a:pt x="8" y="31"/>
                  </a:moveTo>
                  <a:cubicBezTo>
                    <a:pt x="5" y="31"/>
                    <a:pt x="1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5" y="0"/>
                    <a:pt x="99" y="3"/>
                    <a:pt x="99" y="7"/>
                  </a:cubicBezTo>
                  <a:cubicBezTo>
                    <a:pt x="99" y="7"/>
                    <a:pt x="100" y="8"/>
                    <a:pt x="99" y="8"/>
                  </a:cubicBezTo>
                  <a:cubicBezTo>
                    <a:pt x="99" y="12"/>
                    <a:pt x="97" y="15"/>
                    <a:pt x="94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2" name="Google Shape;974;p13">
              <a:extLst>
                <a:ext uri="{FF2B5EF4-FFF2-40B4-BE49-F238E27FC236}">
                  <a16:creationId xmlns:a16="http://schemas.microsoft.com/office/drawing/2014/main" id="{A7B11DA0-B6FC-BACE-E6CD-2D02E6836804}"/>
                </a:ext>
              </a:extLst>
            </p:cNvPr>
            <p:cNvSpPr/>
            <p:nvPr/>
          </p:nvSpPr>
          <p:spPr>
            <a:xfrm>
              <a:off x="4936642" y="2665168"/>
              <a:ext cx="57436" cy="89744"/>
            </a:xfrm>
            <a:custGeom>
              <a:avLst/>
              <a:gdLst/>
              <a:ahLst/>
              <a:cxnLst/>
              <a:rect l="l" t="t" r="r" b="b"/>
              <a:pathLst>
                <a:path w="55" h="92" extrusionOk="0">
                  <a:moveTo>
                    <a:pt x="47" y="92"/>
                  </a:moveTo>
                  <a:cubicBezTo>
                    <a:pt x="7" y="92"/>
                    <a:pt x="7" y="92"/>
                    <a:pt x="7" y="92"/>
                  </a:cubicBezTo>
                  <a:cubicBezTo>
                    <a:pt x="3" y="92"/>
                    <a:pt x="0" y="89"/>
                    <a:pt x="0" y="8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5" y="4"/>
                    <a:pt x="55" y="8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9"/>
                    <a:pt x="51" y="92"/>
                    <a:pt x="47" y="92"/>
                  </a:cubicBezTo>
                  <a:close/>
                  <a:moveTo>
                    <a:pt x="14" y="78"/>
                  </a:moveTo>
                  <a:cubicBezTo>
                    <a:pt x="40" y="78"/>
                    <a:pt x="40" y="78"/>
                    <a:pt x="40" y="78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14" y="15"/>
                    <a:pt x="14" y="15"/>
                    <a:pt x="14" y="15"/>
                  </a:cubicBezTo>
                  <a:lnTo>
                    <a:pt x="14" y="7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6" name="Google Shape;975;p13">
            <a:extLst>
              <a:ext uri="{FF2B5EF4-FFF2-40B4-BE49-F238E27FC236}">
                <a16:creationId xmlns:a16="http://schemas.microsoft.com/office/drawing/2014/main" id="{7A289C54-36D2-7261-19BF-6563904688C3}"/>
              </a:ext>
            </a:extLst>
          </p:cNvPr>
          <p:cNvSpPr/>
          <p:nvPr/>
        </p:nvSpPr>
        <p:spPr>
          <a:xfrm>
            <a:off x="1308127" y="3926384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7" name="Google Shape;976;p13">
            <a:extLst>
              <a:ext uri="{FF2B5EF4-FFF2-40B4-BE49-F238E27FC236}">
                <a16:creationId xmlns:a16="http://schemas.microsoft.com/office/drawing/2014/main" id="{65CEE834-C77D-ED16-C90F-AD1142E9C21C}"/>
              </a:ext>
            </a:extLst>
          </p:cNvPr>
          <p:cNvSpPr/>
          <p:nvPr/>
        </p:nvSpPr>
        <p:spPr>
          <a:xfrm>
            <a:off x="781967" y="3926384"/>
            <a:ext cx="1067268" cy="1067268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8" name="Google Shape;977;p13">
            <a:extLst>
              <a:ext uri="{FF2B5EF4-FFF2-40B4-BE49-F238E27FC236}">
                <a16:creationId xmlns:a16="http://schemas.microsoft.com/office/drawing/2014/main" id="{4927603F-C22E-E127-05EB-E6DA5A70B58C}"/>
              </a:ext>
            </a:extLst>
          </p:cNvPr>
          <p:cNvSpPr txBox="1"/>
          <p:nvPr/>
        </p:nvSpPr>
        <p:spPr>
          <a:xfrm>
            <a:off x="1908467" y="452609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9" name="Google Shape;978;p13">
            <a:extLst>
              <a:ext uri="{FF2B5EF4-FFF2-40B4-BE49-F238E27FC236}">
                <a16:creationId xmlns:a16="http://schemas.microsoft.com/office/drawing/2014/main" id="{99968170-0635-1E61-1A52-B1D5BDE9BD52}"/>
              </a:ext>
            </a:extLst>
          </p:cNvPr>
          <p:cNvSpPr txBox="1"/>
          <p:nvPr/>
        </p:nvSpPr>
        <p:spPr>
          <a:xfrm>
            <a:off x="1908467" y="418904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3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0" name="Google Shape;979;p13">
            <a:extLst>
              <a:ext uri="{FF2B5EF4-FFF2-40B4-BE49-F238E27FC236}">
                <a16:creationId xmlns:a16="http://schemas.microsoft.com/office/drawing/2014/main" id="{0E23315D-2767-AE59-6F06-158ADBF65B27}"/>
              </a:ext>
            </a:extLst>
          </p:cNvPr>
          <p:cNvSpPr/>
          <p:nvPr/>
        </p:nvSpPr>
        <p:spPr>
          <a:xfrm>
            <a:off x="626323" y="4304373"/>
            <a:ext cx="333522" cy="333522"/>
          </a:xfrm>
          <a:prstGeom prst="ellipse">
            <a:avLst/>
          </a:prstGeom>
          <a:solidFill>
            <a:schemeClr val="bg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  <a:sym typeface="Trebuchet MS"/>
              </a:rPr>
              <a:t>04</a:t>
            </a:r>
            <a:endParaRPr sz="14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31" name="Google Shape;980;p13">
            <a:extLst>
              <a:ext uri="{FF2B5EF4-FFF2-40B4-BE49-F238E27FC236}">
                <a16:creationId xmlns:a16="http://schemas.microsoft.com/office/drawing/2014/main" id="{B49C531C-705A-4B9A-BA21-99EEEF36299E}"/>
              </a:ext>
            </a:extLst>
          </p:cNvPr>
          <p:cNvCxnSpPr>
            <a:stCxn id="27" idx="3"/>
          </p:cNvCxnSpPr>
          <p:nvPr/>
        </p:nvCxnSpPr>
        <p:spPr>
          <a:xfrm>
            <a:off x="1849231" y="4460016"/>
            <a:ext cx="125603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" name="Google Shape;981;p13">
            <a:extLst>
              <a:ext uri="{FF2B5EF4-FFF2-40B4-BE49-F238E27FC236}">
                <a16:creationId xmlns:a16="http://schemas.microsoft.com/office/drawing/2014/main" id="{83054146-9237-9C2F-85DA-660B52AC200B}"/>
              </a:ext>
            </a:extLst>
          </p:cNvPr>
          <p:cNvSpPr/>
          <p:nvPr/>
        </p:nvSpPr>
        <p:spPr>
          <a:xfrm>
            <a:off x="5034023" y="3926384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3" name="Google Shape;982;p13">
            <a:extLst>
              <a:ext uri="{FF2B5EF4-FFF2-40B4-BE49-F238E27FC236}">
                <a16:creationId xmlns:a16="http://schemas.microsoft.com/office/drawing/2014/main" id="{326C9885-6AEA-3BBA-17D0-9DD3CA2F8333}"/>
              </a:ext>
            </a:extLst>
          </p:cNvPr>
          <p:cNvSpPr/>
          <p:nvPr/>
        </p:nvSpPr>
        <p:spPr>
          <a:xfrm>
            <a:off x="4507862" y="3926384"/>
            <a:ext cx="1067268" cy="1067268"/>
          </a:xfrm>
          <a:prstGeom prst="diamond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4" name="Google Shape;983;p13">
            <a:extLst>
              <a:ext uri="{FF2B5EF4-FFF2-40B4-BE49-F238E27FC236}">
                <a16:creationId xmlns:a16="http://schemas.microsoft.com/office/drawing/2014/main" id="{AF19B8D1-56AF-A53E-8D04-9921D99E7166}"/>
              </a:ext>
            </a:extLst>
          </p:cNvPr>
          <p:cNvSpPr txBox="1"/>
          <p:nvPr/>
        </p:nvSpPr>
        <p:spPr>
          <a:xfrm>
            <a:off x="5634362" y="4526094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5" name="Google Shape;984;p13">
            <a:extLst>
              <a:ext uri="{FF2B5EF4-FFF2-40B4-BE49-F238E27FC236}">
                <a16:creationId xmlns:a16="http://schemas.microsoft.com/office/drawing/2014/main" id="{3DFD194E-D95C-0C0D-EC37-7700AFD04B22}"/>
              </a:ext>
            </a:extLst>
          </p:cNvPr>
          <p:cNvSpPr txBox="1"/>
          <p:nvPr/>
        </p:nvSpPr>
        <p:spPr>
          <a:xfrm>
            <a:off x="5634362" y="418904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4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6" name="Google Shape;985;p13">
            <a:extLst>
              <a:ext uri="{FF2B5EF4-FFF2-40B4-BE49-F238E27FC236}">
                <a16:creationId xmlns:a16="http://schemas.microsoft.com/office/drawing/2014/main" id="{BBA959D0-E594-BD32-D3E5-A30DEE846F59}"/>
              </a:ext>
            </a:extLst>
          </p:cNvPr>
          <p:cNvSpPr/>
          <p:nvPr/>
        </p:nvSpPr>
        <p:spPr>
          <a:xfrm>
            <a:off x="4352217" y="4304373"/>
            <a:ext cx="333522" cy="333522"/>
          </a:xfrm>
          <a:prstGeom prst="ellipse">
            <a:avLst/>
          </a:prstGeom>
          <a:solidFill>
            <a:schemeClr val="bg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5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7" name="Google Shape;986;p13">
            <a:extLst>
              <a:ext uri="{FF2B5EF4-FFF2-40B4-BE49-F238E27FC236}">
                <a16:creationId xmlns:a16="http://schemas.microsoft.com/office/drawing/2014/main" id="{A959246A-D604-50DD-D080-EDA317B4ABC2}"/>
              </a:ext>
            </a:extLst>
          </p:cNvPr>
          <p:cNvCxnSpPr>
            <a:stCxn id="33" idx="3"/>
          </p:cNvCxnSpPr>
          <p:nvPr/>
        </p:nvCxnSpPr>
        <p:spPr>
          <a:xfrm>
            <a:off x="5575127" y="4460016"/>
            <a:ext cx="125603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" name="Google Shape;987;p13">
            <a:extLst>
              <a:ext uri="{FF2B5EF4-FFF2-40B4-BE49-F238E27FC236}">
                <a16:creationId xmlns:a16="http://schemas.microsoft.com/office/drawing/2014/main" id="{5ADC3DA6-0E01-5A5D-158C-51AF99B3AC8C}"/>
              </a:ext>
            </a:extLst>
          </p:cNvPr>
          <p:cNvSpPr/>
          <p:nvPr/>
        </p:nvSpPr>
        <p:spPr>
          <a:xfrm>
            <a:off x="8759918" y="3926384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9" name="Google Shape;988;p13">
            <a:extLst>
              <a:ext uri="{FF2B5EF4-FFF2-40B4-BE49-F238E27FC236}">
                <a16:creationId xmlns:a16="http://schemas.microsoft.com/office/drawing/2014/main" id="{5D93FF47-3431-77DE-84F8-8C8EF105509E}"/>
              </a:ext>
            </a:extLst>
          </p:cNvPr>
          <p:cNvSpPr/>
          <p:nvPr/>
        </p:nvSpPr>
        <p:spPr>
          <a:xfrm>
            <a:off x="8233757" y="3926384"/>
            <a:ext cx="1067268" cy="1067268"/>
          </a:xfrm>
          <a:prstGeom prst="diamond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40" name="Google Shape;989;p13">
            <a:extLst>
              <a:ext uri="{FF2B5EF4-FFF2-40B4-BE49-F238E27FC236}">
                <a16:creationId xmlns:a16="http://schemas.microsoft.com/office/drawing/2014/main" id="{9FCAFF31-80CB-9201-7994-03139FE71B8A}"/>
              </a:ext>
            </a:extLst>
          </p:cNvPr>
          <p:cNvSpPr txBox="1"/>
          <p:nvPr/>
        </p:nvSpPr>
        <p:spPr>
          <a:xfrm>
            <a:off x="9360258" y="452609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41" name="Google Shape;990;p13">
            <a:extLst>
              <a:ext uri="{FF2B5EF4-FFF2-40B4-BE49-F238E27FC236}">
                <a16:creationId xmlns:a16="http://schemas.microsoft.com/office/drawing/2014/main" id="{9F34E69F-1644-5530-5842-401388697C30}"/>
              </a:ext>
            </a:extLst>
          </p:cNvPr>
          <p:cNvSpPr txBox="1"/>
          <p:nvPr/>
        </p:nvSpPr>
        <p:spPr>
          <a:xfrm>
            <a:off x="9360258" y="418904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5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42" name="Google Shape;991;p13">
            <a:extLst>
              <a:ext uri="{FF2B5EF4-FFF2-40B4-BE49-F238E27FC236}">
                <a16:creationId xmlns:a16="http://schemas.microsoft.com/office/drawing/2014/main" id="{9B7E75B9-4DB9-B6D1-A00A-CB6970581EA8}"/>
              </a:ext>
            </a:extLst>
          </p:cNvPr>
          <p:cNvSpPr/>
          <p:nvPr/>
        </p:nvSpPr>
        <p:spPr>
          <a:xfrm>
            <a:off x="8078113" y="4304373"/>
            <a:ext cx="333522" cy="333522"/>
          </a:xfrm>
          <a:prstGeom prst="ellipse">
            <a:avLst/>
          </a:prstGeom>
          <a:solidFill>
            <a:schemeClr val="bg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6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3" name="Google Shape;992;p13">
            <a:extLst>
              <a:ext uri="{FF2B5EF4-FFF2-40B4-BE49-F238E27FC236}">
                <a16:creationId xmlns:a16="http://schemas.microsoft.com/office/drawing/2014/main" id="{C66F515C-D6DE-3D1E-51A5-305B49E4E866}"/>
              </a:ext>
            </a:extLst>
          </p:cNvPr>
          <p:cNvCxnSpPr>
            <a:stCxn id="39" idx="3"/>
          </p:cNvCxnSpPr>
          <p:nvPr/>
        </p:nvCxnSpPr>
        <p:spPr>
          <a:xfrm>
            <a:off x="9301021" y="4460016"/>
            <a:ext cx="125603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632AF53-BA35-B488-2AB4-DAFB7E3D5B44}"/>
              </a:ext>
            </a:extLst>
          </p:cNvPr>
          <p:cNvGrpSpPr/>
          <p:nvPr/>
        </p:nvGrpSpPr>
        <p:grpSpPr>
          <a:xfrm>
            <a:off x="1198067" y="4259237"/>
            <a:ext cx="235065" cy="430344"/>
            <a:chOff x="1067501" y="4599775"/>
            <a:chExt cx="244651" cy="447895"/>
          </a:xfrm>
        </p:grpSpPr>
        <p:sp>
          <p:nvSpPr>
            <p:cNvPr id="68" name="Google Shape;994;p13">
              <a:extLst>
                <a:ext uri="{FF2B5EF4-FFF2-40B4-BE49-F238E27FC236}">
                  <a16:creationId xmlns:a16="http://schemas.microsoft.com/office/drawing/2014/main" id="{43B56351-544C-5FEA-0EC8-9A84581FAB9B}"/>
                </a:ext>
              </a:extLst>
            </p:cNvPr>
            <p:cNvSpPr/>
            <p:nvPr/>
          </p:nvSpPr>
          <p:spPr>
            <a:xfrm>
              <a:off x="1157833" y="4885825"/>
              <a:ext cx="15055" cy="135498"/>
            </a:xfrm>
            <a:custGeom>
              <a:avLst/>
              <a:gdLst/>
              <a:ahLst/>
              <a:cxnLst/>
              <a:rect l="l" t="t" r="r" b="b"/>
              <a:pathLst>
                <a:path w="12" h="131" extrusionOk="0">
                  <a:moveTo>
                    <a:pt x="6" y="131"/>
                  </a:moveTo>
                  <a:cubicBezTo>
                    <a:pt x="3" y="131"/>
                    <a:pt x="0" y="128"/>
                    <a:pt x="0" y="12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25"/>
                    <a:pt x="12" y="125"/>
                    <a:pt x="12" y="125"/>
                  </a:cubicBezTo>
                  <a:cubicBezTo>
                    <a:pt x="12" y="128"/>
                    <a:pt x="9" y="131"/>
                    <a:pt x="6" y="13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9" name="Google Shape;995;p13">
              <a:extLst>
                <a:ext uri="{FF2B5EF4-FFF2-40B4-BE49-F238E27FC236}">
                  <a16:creationId xmlns:a16="http://schemas.microsoft.com/office/drawing/2014/main" id="{701C2734-ADA5-769B-6A81-7AE7ED4644DF}"/>
                </a:ext>
              </a:extLst>
            </p:cNvPr>
            <p:cNvSpPr/>
            <p:nvPr/>
          </p:nvSpPr>
          <p:spPr>
            <a:xfrm>
              <a:off x="1067501" y="4697634"/>
              <a:ext cx="195719" cy="350036"/>
            </a:xfrm>
            <a:custGeom>
              <a:avLst/>
              <a:gdLst/>
              <a:ahLst/>
              <a:cxnLst/>
              <a:rect l="l" t="t" r="r" b="b"/>
              <a:pathLst>
                <a:path w="189" h="336" extrusionOk="0">
                  <a:moveTo>
                    <a:pt x="120" y="336"/>
                  </a:moveTo>
                  <a:cubicBezTo>
                    <a:pt x="109" y="336"/>
                    <a:pt x="101" y="331"/>
                    <a:pt x="95" y="323"/>
                  </a:cubicBezTo>
                  <a:cubicBezTo>
                    <a:pt x="89" y="331"/>
                    <a:pt x="80" y="336"/>
                    <a:pt x="70" y="336"/>
                  </a:cubicBezTo>
                  <a:cubicBezTo>
                    <a:pt x="53" y="336"/>
                    <a:pt x="40" y="322"/>
                    <a:pt x="40" y="305"/>
                  </a:cubicBezTo>
                  <a:cubicBezTo>
                    <a:pt x="40" y="170"/>
                    <a:pt x="40" y="170"/>
                    <a:pt x="40" y="170"/>
                  </a:cubicBezTo>
                  <a:cubicBezTo>
                    <a:pt x="36" y="172"/>
                    <a:pt x="33" y="173"/>
                    <a:pt x="29" y="174"/>
                  </a:cubicBezTo>
                  <a:cubicBezTo>
                    <a:pt x="21" y="174"/>
                    <a:pt x="14" y="172"/>
                    <a:pt x="9" y="167"/>
                  </a:cubicBezTo>
                  <a:cubicBezTo>
                    <a:pt x="4" y="162"/>
                    <a:pt x="0" y="155"/>
                    <a:pt x="0" y="14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69" y="0"/>
                    <a:pt x="189" y="20"/>
                    <a:pt x="189" y="45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9" y="150"/>
                    <a:pt x="189" y="152"/>
                    <a:pt x="189" y="154"/>
                  </a:cubicBezTo>
                  <a:cubicBezTo>
                    <a:pt x="188" y="157"/>
                    <a:pt x="185" y="159"/>
                    <a:pt x="181" y="159"/>
                  </a:cubicBezTo>
                  <a:cubicBezTo>
                    <a:pt x="178" y="158"/>
                    <a:pt x="176" y="154"/>
                    <a:pt x="177" y="151"/>
                  </a:cubicBezTo>
                  <a:cubicBezTo>
                    <a:pt x="177" y="150"/>
                    <a:pt x="177" y="149"/>
                    <a:pt x="177" y="148"/>
                  </a:cubicBezTo>
                  <a:cubicBezTo>
                    <a:pt x="177" y="45"/>
                    <a:pt x="177" y="45"/>
                    <a:pt x="177" y="45"/>
                  </a:cubicBezTo>
                  <a:cubicBezTo>
                    <a:pt x="177" y="27"/>
                    <a:pt x="162" y="12"/>
                    <a:pt x="144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27" y="12"/>
                    <a:pt x="13" y="27"/>
                    <a:pt x="13" y="45"/>
                  </a:cubicBezTo>
                  <a:cubicBezTo>
                    <a:pt x="13" y="148"/>
                    <a:pt x="13" y="148"/>
                    <a:pt x="13" y="148"/>
                  </a:cubicBezTo>
                  <a:cubicBezTo>
                    <a:pt x="13" y="152"/>
                    <a:pt x="14" y="155"/>
                    <a:pt x="17" y="158"/>
                  </a:cubicBezTo>
                  <a:cubicBezTo>
                    <a:pt x="20" y="161"/>
                    <a:pt x="24" y="162"/>
                    <a:pt x="27" y="161"/>
                  </a:cubicBezTo>
                  <a:cubicBezTo>
                    <a:pt x="34" y="161"/>
                    <a:pt x="40" y="155"/>
                    <a:pt x="40" y="147"/>
                  </a:cubicBezTo>
                  <a:cubicBezTo>
                    <a:pt x="40" y="144"/>
                    <a:pt x="42" y="141"/>
                    <a:pt x="46" y="141"/>
                  </a:cubicBezTo>
                  <a:cubicBezTo>
                    <a:pt x="49" y="141"/>
                    <a:pt x="52" y="144"/>
                    <a:pt x="52" y="147"/>
                  </a:cubicBezTo>
                  <a:cubicBezTo>
                    <a:pt x="52" y="305"/>
                    <a:pt x="52" y="305"/>
                    <a:pt x="52" y="305"/>
                  </a:cubicBezTo>
                  <a:cubicBezTo>
                    <a:pt x="52" y="315"/>
                    <a:pt x="60" y="323"/>
                    <a:pt x="70" y="323"/>
                  </a:cubicBezTo>
                  <a:cubicBezTo>
                    <a:pt x="81" y="323"/>
                    <a:pt x="89" y="315"/>
                    <a:pt x="89" y="305"/>
                  </a:cubicBezTo>
                  <a:cubicBezTo>
                    <a:pt x="89" y="302"/>
                    <a:pt x="92" y="299"/>
                    <a:pt x="95" y="299"/>
                  </a:cubicBezTo>
                  <a:cubicBezTo>
                    <a:pt x="98" y="299"/>
                    <a:pt x="101" y="302"/>
                    <a:pt x="101" y="305"/>
                  </a:cubicBezTo>
                  <a:cubicBezTo>
                    <a:pt x="101" y="315"/>
                    <a:pt x="109" y="323"/>
                    <a:pt x="120" y="323"/>
                  </a:cubicBezTo>
                  <a:cubicBezTo>
                    <a:pt x="130" y="323"/>
                    <a:pt x="138" y="315"/>
                    <a:pt x="138" y="305"/>
                  </a:cubicBezTo>
                  <a:cubicBezTo>
                    <a:pt x="138" y="238"/>
                    <a:pt x="138" y="238"/>
                    <a:pt x="138" y="238"/>
                  </a:cubicBezTo>
                  <a:cubicBezTo>
                    <a:pt x="138" y="235"/>
                    <a:pt x="141" y="232"/>
                    <a:pt x="144" y="232"/>
                  </a:cubicBezTo>
                  <a:cubicBezTo>
                    <a:pt x="148" y="232"/>
                    <a:pt x="150" y="235"/>
                    <a:pt x="150" y="238"/>
                  </a:cubicBezTo>
                  <a:cubicBezTo>
                    <a:pt x="150" y="305"/>
                    <a:pt x="150" y="305"/>
                    <a:pt x="150" y="305"/>
                  </a:cubicBezTo>
                  <a:cubicBezTo>
                    <a:pt x="150" y="322"/>
                    <a:pt x="136" y="336"/>
                    <a:pt x="120" y="3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0" name="Google Shape;996;p13">
              <a:extLst>
                <a:ext uri="{FF2B5EF4-FFF2-40B4-BE49-F238E27FC236}">
                  <a16:creationId xmlns:a16="http://schemas.microsoft.com/office/drawing/2014/main" id="{A4CBC99E-6E90-90C3-1EE8-4BB20DBB570C}"/>
                </a:ext>
              </a:extLst>
            </p:cNvPr>
            <p:cNvSpPr/>
            <p:nvPr/>
          </p:nvSpPr>
          <p:spPr>
            <a:xfrm>
              <a:off x="1108904" y="4697634"/>
              <a:ext cx="112916" cy="11291"/>
            </a:xfrm>
            <a:custGeom>
              <a:avLst/>
              <a:gdLst/>
              <a:ahLst/>
              <a:cxnLst/>
              <a:rect l="l" t="t" r="r" b="b"/>
              <a:pathLst>
                <a:path w="110" h="12" extrusionOk="0">
                  <a:moveTo>
                    <a:pt x="10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8" y="0"/>
                    <a:pt x="110" y="2"/>
                    <a:pt x="110" y="6"/>
                  </a:cubicBezTo>
                  <a:cubicBezTo>
                    <a:pt x="110" y="9"/>
                    <a:pt x="108" y="12"/>
                    <a:pt x="104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1" name="Google Shape;997;p13">
              <a:extLst>
                <a:ext uri="{FF2B5EF4-FFF2-40B4-BE49-F238E27FC236}">
                  <a16:creationId xmlns:a16="http://schemas.microsoft.com/office/drawing/2014/main" id="{6AF2EE8F-9D4B-AAAC-B795-4D80B51452B6}"/>
                </a:ext>
              </a:extLst>
            </p:cNvPr>
            <p:cNvSpPr/>
            <p:nvPr/>
          </p:nvSpPr>
          <p:spPr>
            <a:xfrm>
              <a:off x="1108904" y="4769144"/>
              <a:ext cx="11292" cy="86570"/>
            </a:xfrm>
            <a:custGeom>
              <a:avLst/>
              <a:gdLst/>
              <a:ahLst/>
              <a:cxnLst/>
              <a:rect l="l" t="t" r="r" b="b"/>
              <a:pathLst>
                <a:path w="12" h="83" extrusionOk="0">
                  <a:moveTo>
                    <a:pt x="6" y="83"/>
                  </a:moveTo>
                  <a:cubicBezTo>
                    <a:pt x="2" y="83"/>
                    <a:pt x="0" y="81"/>
                    <a:pt x="0" y="7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81"/>
                    <a:pt x="9" y="83"/>
                    <a:pt x="6" y="8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2" name="Google Shape;998;p13">
              <a:extLst>
                <a:ext uri="{FF2B5EF4-FFF2-40B4-BE49-F238E27FC236}">
                  <a16:creationId xmlns:a16="http://schemas.microsoft.com/office/drawing/2014/main" id="{62BD6123-1324-952C-D1E7-7801A62D67D0}"/>
                </a:ext>
              </a:extLst>
            </p:cNvPr>
            <p:cNvSpPr/>
            <p:nvPr/>
          </p:nvSpPr>
          <p:spPr>
            <a:xfrm>
              <a:off x="1210528" y="4769144"/>
              <a:ext cx="11292" cy="86570"/>
            </a:xfrm>
            <a:custGeom>
              <a:avLst/>
              <a:gdLst/>
              <a:ahLst/>
              <a:cxnLst/>
              <a:rect l="l" t="t" r="r" b="b"/>
              <a:pathLst>
                <a:path w="12" h="83" extrusionOk="0">
                  <a:moveTo>
                    <a:pt x="6" y="83"/>
                  </a:moveTo>
                  <a:cubicBezTo>
                    <a:pt x="3" y="83"/>
                    <a:pt x="0" y="81"/>
                    <a:pt x="0" y="7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81"/>
                    <a:pt x="10" y="83"/>
                    <a:pt x="6" y="8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3" name="Google Shape;999;p13">
              <a:extLst>
                <a:ext uri="{FF2B5EF4-FFF2-40B4-BE49-F238E27FC236}">
                  <a16:creationId xmlns:a16="http://schemas.microsoft.com/office/drawing/2014/main" id="{74DD9189-9555-FD22-C15B-A4CD2D421CE0}"/>
                </a:ext>
              </a:extLst>
            </p:cNvPr>
            <p:cNvSpPr/>
            <p:nvPr/>
          </p:nvSpPr>
          <p:spPr>
            <a:xfrm>
              <a:off x="1123960" y="4599775"/>
              <a:ext cx="82805" cy="82804"/>
            </a:xfrm>
            <a:custGeom>
              <a:avLst/>
              <a:gdLst/>
              <a:ahLst/>
              <a:cxnLst/>
              <a:rect l="l" t="t" r="r" b="b"/>
              <a:pathLst>
                <a:path w="78" h="78" extrusionOk="0">
                  <a:moveTo>
                    <a:pt x="39" y="78"/>
                  </a:moveTo>
                  <a:cubicBezTo>
                    <a:pt x="17" y="78"/>
                    <a:pt x="0" y="61"/>
                    <a:pt x="0" y="39"/>
                  </a:cubicBezTo>
                  <a:cubicBezTo>
                    <a:pt x="0" y="17"/>
                    <a:pt x="17" y="0"/>
                    <a:pt x="39" y="0"/>
                  </a:cubicBezTo>
                  <a:cubicBezTo>
                    <a:pt x="61" y="0"/>
                    <a:pt x="78" y="17"/>
                    <a:pt x="78" y="39"/>
                  </a:cubicBezTo>
                  <a:cubicBezTo>
                    <a:pt x="78" y="61"/>
                    <a:pt x="61" y="78"/>
                    <a:pt x="39" y="78"/>
                  </a:cubicBezTo>
                  <a:close/>
                  <a:moveTo>
                    <a:pt x="39" y="12"/>
                  </a:moveTo>
                  <a:cubicBezTo>
                    <a:pt x="24" y="12"/>
                    <a:pt x="12" y="24"/>
                    <a:pt x="12" y="39"/>
                  </a:cubicBezTo>
                  <a:cubicBezTo>
                    <a:pt x="12" y="54"/>
                    <a:pt x="24" y="66"/>
                    <a:pt x="39" y="66"/>
                  </a:cubicBezTo>
                  <a:cubicBezTo>
                    <a:pt x="54" y="66"/>
                    <a:pt x="66" y="54"/>
                    <a:pt x="66" y="39"/>
                  </a:cubicBezTo>
                  <a:cubicBezTo>
                    <a:pt x="66" y="24"/>
                    <a:pt x="54" y="12"/>
                    <a:pt x="39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4" name="Google Shape;1000;p13">
              <a:extLst>
                <a:ext uri="{FF2B5EF4-FFF2-40B4-BE49-F238E27FC236}">
                  <a16:creationId xmlns:a16="http://schemas.microsoft.com/office/drawing/2014/main" id="{CFE93FAC-548E-4564-DAEA-1ADA3B474ABC}"/>
                </a:ext>
              </a:extLst>
            </p:cNvPr>
            <p:cNvSpPr/>
            <p:nvPr/>
          </p:nvSpPr>
          <p:spPr>
            <a:xfrm>
              <a:off x="1157833" y="4851949"/>
              <a:ext cx="154319" cy="97859"/>
            </a:xfrm>
            <a:custGeom>
              <a:avLst/>
              <a:gdLst/>
              <a:ahLst/>
              <a:cxnLst/>
              <a:rect l="l" t="t" r="r" b="b"/>
              <a:pathLst>
                <a:path w="149" h="94" extrusionOk="0">
                  <a:moveTo>
                    <a:pt x="129" y="94"/>
                  </a:moveTo>
                  <a:cubicBezTo>
                    <a:pt x="19" y="94"/>
                    <a:pt x="19" y="94"/>
                    <a:pt x="19" y="94"/>
                  </a:cubicBezTo>
                  <a:cubicBezTo>
                    <a:pt x="9" y="94"/>
                    <a:pt x="0" y="85"/>
                    <a:pt x="0" y="7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9" y="0"/>
                    <a:pt x="1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40" y="0"/>
                    <a:pt x="149" y="9"/>
                    <a:pt x="149" y="19"/>
                  </a:cubicBezTo>
                  <a:cubicBezTo>
                    <a:pt x="149" y="74"/>
                    <a:pt x="149" y="74"/>
                    <a:pt x="149" y="74"/>
                  </a:cubicBezTo>
                  <a:cubicBezTo>
                    <a:pt x="149" y="85"/>
                    <a:pt x="140" y="94"/>
                    <a:pt x="129" y="94"/>
                  </a:cubicBezTo>
                  <a:close/>
                  <a:moveTo>
                    <a:pt x="19" y="12"/>
                  </a:moveTo>
                  <a:cubicBezTo>
                    <a:pt x="15" y="12"/>
                    <a:pt x="12" y="15"/>
                    <a:pt x="12" y="19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2" y="78"/>
                    <a:pt x="15" y="82"/>
                    <a:pt x="1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3" y="82"/>
                    <a:pt x="137" y="78"/>
                    <a:pt x="137" y="74"/>
                  </a:cubicBezTo>
                  <a:cubicBezTo>
                    <a:pt x="137" y="19"/>
                    <a:pt x="137" y="19"/>
                    <a:pt x="137" y="19"/>
                  </a:cubicBezTo>
                  <a:cubicBezTo>
                    <a:pt x="137" y="15"/>
                    <a:pt x="133" y="12"/>
                    <a:pt x="129" y="12"/>
                  </a:cubicBezTo>
                  <a:lnTo>
                    <a:pt x="19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AD507B2-68C4-84F6-DA7F-AB95B8B20E17}"/>
              </a:ext>
            </a:extLst>
          </p:cNvPr>
          <p:cNvGrpSpPr/>
          <p:nvPr/>
        </p:nvGrpSpPr>
        <p:grpSpPr>
          <a:xfrm>
            <a:off x="4925716" y="4295834"/>
            <a:ext cx="231565" cy="299527"/>
            <a:chOff x="4947165" y="4637864"/>
            <a:chExt cx="241008" cy="311741"/>
          </a:xfrm>
        </p:grpSpPr>
        <p:sp>
          <p:nvSpPr>
            <p:cNvPr id="60" name="Google Shape;1002;p13">
              <a:extLst>
                <a:ext uri="{FF2B5EF4-FFF2-40B4-BE49-F238E27FC236}">
                  <a16:creationId xmlns:a16="http://schemas.microsoft.com/office/drawing/2014/main" id="{83A63C8E-293F-D2B1-256B-725CAEE104E0}"/>
                </a:ext>
              </a:extLst>
            </p:cNvPr>
            <p:cNvSpPr/>
            <p:nvPr/>
          </p:nvSpPr>
          <p:spPr>
            <a:xfrm>
              <a:off x="4947165" y="4637864"/>
              <a:ext cx="241008" cy="311741"/>
            </a:xfrm>
            <a:custGeom>
              <a:avLst/>
              <a:gdLst/>
              <a:ahLst/>
              <a:cxnLst/>
              <a:rect l="l" t="t" r="r" b="b"/>
              <a:pathLst>
                <a:path w="332" h="431" extrusionOk="0">
                  <a:moveTo>
                    <a:pt x="295" y="431"/>
                  </a:moveTo>
                  <a:cubicBezTo>
                    <a:pt x="37" y="431"/>
                    <a:pt x="37" y="431"/>
                    <a:pt x="37" y="431"/>
                  </a:cubicBezTo>
                  <a:cubicBezTo>
                    <a:pt x="17" y="431"/>
                    <a:pt x="0" y="414"/>
                    <a:pt x="0" y="394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7"/>
                    <a:pt x="17" y="0"/>
                    <a:pt x="37" y="0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316" y="0"/>
                    <a:pt x="332" y="17"/>
                    <a:pt x="332" y="37"/>
                  </a:cubicBezTo>
                  <a:cubicBezTo>
                    <a:pt x="332" y="394"/>
                    <a:pt x="332" y="394"/>
                    <a:pt x="332" y="394"/>
                  </a:cubicBezTo>
                  <a:cubicBezTo>
                    <a:pt x="332" y="414"/>
                    <a:pt x="316" y="431"/>
                    <a:pt x="295" y="431"/>
                  </a:cubicBezTo>
                  <a:close/>
                  <a:moveTo>
                    <a:pt x="37" y="13"/>
                  </a:moveTo>
                  <a:cubicBezTo>
                    <a:pt x="23" y="13"/>
                    <a:pt x="12" y="24"/>
                    <a:pt x="12" y="37"/>
                  </a:cubicBezTo>
                  <a:cubicBezTo>
                    <a:pt x="12" y="394"/>
                    <a:pt x="12" y="394"/>
                    <a:pt x="12" y="394"/>
                  </a:cubicBezTo>
                  <a:cubicBezTo>
                    <a:pt x="12" y="407"/>
                    <a:pt x="23" y="418"/>
                    <a:pt x="37" y="418"/>
                  </a:cubicBezTo>
                  <a:cubicBezTo>
                    <a:pt x="295" y="418"/>
                    <a:pt x="295" y="418"/>
                    <a:pt x="295" y="418"/>
                  </a:cubicBezTo>
                  <a:cubicBezTo>
                    <a:pt x="309" y="418"/>
                    <a:pt x="320" y="407"/>
                    <a:pt x="320" y="394"/>
                  </a:cubicBezTo>
                  <a:cubicBezTo>
                    <a:pt x="320" y="37"/>
                    <a:pt x="320" y="37"/>
                    <a:pt x="320" y="37"/>
                  </a:cubicBezTo>
                  <a:cubicBezTo>
                    <a:pt x="320" y="24"/>
                    <a:pt x="309" y="13"/>
                    <a:pt x="295" y="13"/>
                  </a:cubicBezTo>
                  <a:lnTo>
                    <a:pt x="37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1" name="Google Shape;1003;p13">
              <a:extLst>
                <a:ext uri="{FF2B5EF4-FFF2-40B4-BE49-F238E27FC236}">
                  <a16:creationId xmlns:a16="http://schemas.microsoft.com/office/drawing/2014/main" id="{5E449758-C9ED-9340-ABF8-08A3F3D3AFD0}"/>
                </a:ext>
              </a:extLst>
            </p:cNvPr>
            <p:cNvSpPr/>
            <p:nvPr/>
          </p:nvSpPr>
          <p:spPr>
            <a:xfrm>
              <a:off x="4981220" y="4637864"/>
              <a:ext cx="172898" cy="39296"/>
            </a:xfrm>
            <a:custGeom>
              <a:avLst/>
              <a:gdLst/>
              <a:ahLst/>
              <a:cxnLst/>
              <a:rect l="l" t="t" r="r" b="b"/>
              <a:pathLst>
                <a:path w="242" h="54" extrusionOk="0">
                  <a:moveTo>
                    <a:pt x="236" y="54"/>
                  </a:moveTo>
                  <a:cubicBezTo>
                    <a:pt x="7" y="54"/>
                    <a:pt x="7" y="54"/>
                    <a:pt x="7" y="54"/>
                  </a:cubicBezTo>
                  <a:cubicBezTo>
                    <a:pt x="3" y="54"/>
                    <a:pt x="0" y="52"/>
                    <a:pt x="0" y="4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9" y="0"/>
                    <a:pt x="242" y="3"/>
                    <a:pt x="242" y="7"/>
                  </a:cubicBezTo>
                  <a:cubicBezTo>
                    <a:pt x="242" y="48"/>
                    <a:pt x="242" y="48"/>
                    <a:pt x="242" y="48"/>
                  </a:cubicBezTo>
                  <a:cubicBezTo>
                    <a:pt x="242" y="52"/>
                    <a:pt x="239" y="54"/>
                    <a:pt x="236" y="54"/>
                  </a:cubicBezTo>
                  <a:close/>
                  <a:moveTo>
                    <a:pt x="13" y="42"/>
                  </a:moveTo>
                  <a:cubicBezTo>
                    <a:pt x="230" y="42"/>
                    <a:pt x="230" y="42"/>
                    <a:pt x="230" y="42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13" y="13"/>
                    <a:pt x="13" y="13"/>
                    <a:pt x="13" y="13"/>
                  </a:cubicBezTo>
                  <a:lnTo>
                    <a:pt x="13" y="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2" name="Google Shape;1004;p13">
              <a:extLst>
                <a:ext uri="{FF2B5EF4-FFF2-40B4-BE49-F238E27FC236}">
                  <a16:creationId xmlns:a16="http://schemas.microsoft.com/office/drawing/2014/main" id="{EC7825DC-866B-368E-B663-1B4B8222CD75}"/>
                </a:ext>
              </a:extLst>
            </p:cNvPr>
            <p:cNvSpPr/>
            <p:nvPr/>
          </p:nvSpPr>
          <p:spPr>
            <a:xfrm>
              <a:off x="4994319" y="4724313"/>
              <a:ext cx="47154" cy="34057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3" name="Google Shape;1005;p13">
              <a:extLst>
                <a:ext uri="{FF2B5EF4-FFF2-40B4-BE49-F238E27FC236}">
                  <a16:creationId xmlns:a16="http://schemas.microsoft.com/office/drawing/2014/main" id="{FA140331-46C8-84A6-E4A4-0D7C711ABACA}"/>
                </a:ext>
              </a:extLst>
            </p:cNvPr>
            <p:cNvSpPr/>
            <p:nvPr/>
          </p:nvSpPr>
          <p:spPr>
            <a:xfrm>
              <a:off x="4994319" y="4787185"/>
              <a:ext cx="47154" cy="36676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4" name="Google Shape;1006;p13">
              <a:extLst>
                <a:ext uri="{FF2B5EF4-FFF2-40B4-BE49-F238E27FC236}">
                  <a16:creationId xmlns:a16="http://schemas.microsoft.com/office/drawing/2014/main" id="{C362187E-DE9D-6BAF-CC97-B1C41F6C0FF8}"/>
                </a:ext>
              </a:extLst>
            </p:cNvPr>
            <p:cNvSpPr/>
            <p:nvPr/>
          </p:nvSpPr>
          <p:spPr>
            <a:xfrm>
              <a:off x="4994319" y="4852676"/>
              <a:ext cx="47154" cy="34057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5" name="Google Shape;1007;p13">
              <a:extLst>
                <a:ext uri="{FF2B5EF4-FFF2-40B4-BE49-F238E27FC236}">
                  <a16:creationId xmlns:a16="http://schemas.microsoft.com/office/drawing/2014/main" id="{031952AA-FA55-D58D-FECA-DEFD72C6134A}"/>
                </a:ext>
              </a:extLst>
            </p:cNvPr>
            <p:cNvSpPr/>
            <p:nvPr/>
          </p:nvSpPr>
          <p:spPr>
            <a:xfrm>
              <a:off x="5059810" y="4750510"/>
              <a:ext cx="81210" cy="7859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6" name="Google Shape;1008;p13">
              <a:extLst>
                <a:ext uri="{FF2B5EF4-FFF2-40B4-BE49-F238E27FC236}">
                  <a16:creationId xmlns:a16="http://schemas.microsoft.com/office/drawing/2014/main" id="{AF565B78-9B3F-F11A-7618-B54334B60E10}"/>
                </a:ext>
              </a:extLst>
            </p:cNvPr>
            <p:cNvSpPr/>
            <p:nvPr/>
          </p:nvSpPr>
          <p:spPr>
            <a:xfrm>
              <a:off x="5059810" y="4813382"/>
              <a:ext cx="81210" cy="10479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7" name="Google Shape;1009;p13">
              <a:extLst>
                <a:ext uri="{FF2B5EF4-FFF2-40B4-BE49-F238E27FC236}">
                  <a16:creationId xmlns:a16="http://schemas.microsoft.com/office/drawing/2014/main" id="{BA9FD336-1250-2837-DDA4-8294A3AFF886}"/>
                </a:ext>
              </a:extLst>
            </p:cNvPr>
            <p:cNvSpPr/>
            <p:nvPr/>
          </p:nvSpPr>
          <p:spPr>
            <a:xfrm>
              <a:off x="5059810" y="4878873"/>
              <a:ext cx="81210" cy="7859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75FE561-CA96-11E5-1425-7E75DEE73E31}"/>
              </a:ext>
            </a:extLst>
          </p:cNvPr>
          <p:cNvGrpSpPr/>
          <p:nvPr/>
        </p:nvGrpSpPr>
        <p:grpSpPr>
          <a:xfrm>
            <a:off x="8608416" y="4302367"/>
            <a:ext cx="317951" cy="315305"/>
            <a:chOff x="8780048" y="4644664"/>
            <a:chExt cx="330917" cy="328163"/>
          </a:xfrm>
          <a:solidFill>
            <a:schemeClr val="bg1"/>
          </a:solidFill>
        </p:grpSpPr>
        <p:sp>
          <p:nvSpPr>
            <p:cNvPr id="47" name="Google Shape;1011;p13">
              <a:extLst>
                <a:ext uri="{FF2B5EF4-FFF2-40B4-BE49-F238E27FC236}">
                  <a16:creationId xmlns:a16="http://schemas.microsoft.com/office/drawing/2014/main" id="{339391ED-1385-0769-6C91-544D85A6F068}"/>
                </a:ext>
              </a:extLst>
            </p:cNvPr>
            <p:cNvSpPr/>
            <p:nvPr/>
          </p:nvSpPr>
          <p:spPr>
            <a:xfrm>
              <a:off x="9007203" y="4869414"/>
              <a:ext cx="81326" cy="79972"/>
            </a:xfrm>
            <a:custGeom>
              <a:avLst/>
              <a:gdLst/>
              <a:ahLst/>
              <a:cxnLst/>
              <a:rect l="l" t="t" r="r" b="b"/>
              <a:pathLst>
                <a:path w="41" h="41" extrusionOk="0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8" name="Google Shape;1012;p13">
              <a:extLst>
                <a:ext uri="{FF2B5EF4-FFF2-40B4-BE49-F238E27FC236}">
                  <a16:creationId xmlns:a16="http://schemas.microsoft.com/office/drawing/2014/main" id="{6D7D177A-F7D1-BEDA-A946-32DACA516B5E}"/>
                </a:ext>
              </a:extLst>
            </p:cNvPr>
            <p:cNvSpPr/>
            <p:nvPr/>
          </p:nvSpPr>
          <p:spPr>
            <a:xfrm>
              <a:off x="8782852" y="4647423"/>
              <a:ext cx="91143" cy="89624"/>
            </a:xfrm>
            <a:custGeom>
              <a:avLst/>
              <a:gdLst/>
              <a:ahLst/>
              <a:cxnLst/>
              <a:rect l="l" t="t" r="r" b="b"/>
              <a:pathLst>
                <a:path w="46" h="46" extrusionOk="0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9" name="Google Shape;1013;p13">
              <a:extLst>
                <a:ext uri="{FF2B5EF4-FFF2-40B4-BE49-F238E27FC236}">
                  <a16:creationId xmlns:a16="http://schemas.microsoft.com/office/drawing/2014/main" id="{1FF4B681-6E2A-BDAC-74E3-BF13D0EECF35}"/>
                </a:ext>
              </a:extLst>
            </p:cNvPr>
            <p:cNvSpPr/>
            <p:nvPr/>
          </p:nvSpPr>
          <p:spPr>
            <a:xfrm>
              <a:off x="8780048" y="4695681"/>
              <a:ext cx="102361" cy="78593"/>
            </a:xfrm>
            <a:custGeom>
              <a:avLst/>
              <a:gdLst/>
              <a:ahLst/>
              <a:cxnLst/>
              <a:rect l="l" t="t" r="r" b="b"/>
              <a:pathLst>
                <a:path w="51" h="40" extrusionOk="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0" name="Google Shape;1014;p13">
              <a:extLst>
                <a:ext uri="{FF2B5EF4-FFF2-40B4-BE49-F238E27FC236}">
                  <a16:creationId xmlns:a16="http://schemas.microsoft.com/office/drawing/2014/main" id="{3406E22F-4349-ECBC-74AA-6A77F71D3F9D}"/>
                </a:ext>
              </a:extLst>
            </p:cNvPr>
            <p:cNvSpPr/>
            <p:nvPr/>
          </p:nvSpPr>
          <p:spPr>
            <a:xfrm>
              <a:off x="8831929" y="4644664"/>
              <a:ext cx="84131" cy="100654"/>
            </a:xfrm>
            <a:custGeom>
              <a:avLst/>
              <a:gdLst/>
              <a:ahLst/>
              <a:cxnLst/>
              <a:rect l="l" t="t" r="r" b="b"/>
              <a:pathLst>
                <a:path w="42" h="51" extrusionOk="0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1" name="Google Shape;1015;p13">
              <a:extLst>
                <a:ext uri="{FF2B5EF4-FFF2-40B4-BE49-F238E27FC236}">
                  <a16:creationId xmlns:a16="http://schemas.microsoft.com/office/drawing/2014/main" id="{BC09FF23-ABB4-B6F2-AF60-1D3239DEDADB}"/>
                </a:ext>
              </a:extLst>
            </p:cNvPr>
            <p:cNvSpPr/>
            <p:nvPr/>
          </p:nvSpPr>
          <p:spPr>
            <a:xfrm>
              <a:off x="8872593" y="4757728"/>
              <a:ext cx="51881" cy="48260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2" name="Google Shape;1016;p13">
              <a:extLst>
                <a:ext uri="{FF2B5EF4-FFF2-40B4-BE49-F238E27FC236}">
                  <a16:creationId xmlns:a16="http://schemas.microsoft.com/office/drawing/2014/main" id="{340F1E94-8CC1-7245-39E6-13EAD5F2F105}"/>
                </a:ext>
              </a:extLst>
            </p:cNvPr>
            <p:cNvSpPr/>
            <p:nvPr/>
          </p:nvSpPr>
          <p:spPr>
            <a:xfrm>
              <a:off x="8949714" y="4833565"/>
              <a:ext cx="53283" cy="51017"/>
            </a:xfrm>
            <a:custGeom>
              <a:avLst/>
              <a:gdLst/>
              <a:ahLst/>
              <a:cxnLst/>
              <a:rect l="l" t="t" r="r" b="b"/>
              <a:pathLst>
                <a:path w="27" h="26" extrusionOk="0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3" name="Google Shape;1017;p13">
              <a:extLst>
                <a:ext uri="{FF2B5EF4-FFF2-40B4-BE49-F238E27FC236}">
                  <a16:creationId xmlns:a16="http://schemas.microsoft.com/office/drawing/2014/main" id="{CEA6682B-4F95-D67E-4E00-D77CE56B46A7}"/>
                </a:ext>
              </a:extLst>
            </p:cNvPr>
            <p:cNvSpPr/>
            <p:nvPr/>
          </p:nvSpPr>
          <p:spPr>
            <a:xfrm>
              <a:off x="8893626" y="4737047"/>
              <a:ext cx="130404" cy="128232"/>
            </a:xfrm>
            <a:custGeom>
              <a:avLst/>
              <a:gdLst/>
              <a:ahLst/>
              <a:cxnLst/>
              <a:rect l="l" t="t" r="r" b="b"/>
              <a:pathLst>
                <a:path w="65" h="65" extrusionOk="0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4" name="Google Shape;1018;p13">
              <a:extLst>
                <a:ext uri="{FF2B5EF4-FFF2-40B4-BE49-F238E27FC236}">
                  <a16:creationId xmlns:a16="http://schemas.microsoft.com/office/drawing/2014/main" id="{1536B904-89F5-D6B0-3199-51562EB52338}"/>
                </a:ext>
              </a:extLst>
            </p:cNvPr>
            <p:cNvSpPr/>
            <p:nvPr/>
          </p:nvSpPr>
          <p:spPr>
            <a:xfrm>
              <a:off x="8979160" y="4841837"/>
              <a:ext cx="131805" cy="130990"/>
            </a:xfrm>
            <a:custGeom>
              <a:avLst/>
              <a:gdLst/>
              <a:ahLst/>
              <a:cxnLst/>
              <a:rect l="l" t="t" r="r" b="b"/>
              <a:pathLst>
                <a:path w="66" h="67" extrusionOk="0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6" name="Google Shape;1019;p13">
              <a:extLst>
                <a:ext uri="{FF2B5EF4-FFF2-40B4-BE49-F238E27FC236}">
                  <a16:creationId xmlns:a16="http://schemas.microsoft.com/office/drawing/2014/main" id="{B5450441-0503-464C-08D0-719CFFC13475}"/>
                </a:ext>
              </a:extLst>
            </p:cNvPr>
            <p:cNvSpPr/>
            <p:nvPr/>
          </p:nvSpPr>
          <p:spPr>
            <a:xfrm>
              <a:off x="8935692" y="4658453"/>
              <a:ext cx="164057" cy="164082"/>
            </a:xfrm>
            <a:custGeom>
              <a:avLst/>
              <a:gdLst/>
              <a:ahLst/>
              <a:cxnLst/>
              <a:rect l="l" t="t" r="r" b="b"/>
              <a:pathLst>
                <a:path w="82" h="83" extrusionOk="0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7" name="Google Shape;1020;p13">
              <a:extLst>
                <a:ext uri="{FF2B5EF4-FFF2-40B4-BE49-F238E27FC236}">
                  <a16:creationId xmlns:a16="http://schemas.microsoft.com/office/drawing/2014/main" id="{DDAE8099-8D90-5E36-F18A-56D51AA6183D}"/>
                </a:ext>
              </a:extLst>
            </p:cNvPr>
            <p:cNvSpPr/>
            <p:nvPr/>
          </p:nvSpPr>
          <p:spPr>
            <a:xfrm>
              <a:off x="8784254" y="4814261"/>
              <a:ext cx="159849" cy="153050"/>
            </a:xfrm>
            <a:custGeom>
              <a:avLst/>
              <a:gdLst/>
              <a:ahLst/>
              <a:cxnLst/>
              <a:rect l="l" t="t" r="r" b="b"/>
              <a:pathLst>
                <a:path w="80" h="78" extrusionOk="0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8" name="Google Shape;1021;p13">
              <a:extLst>
                <a:ext uri="{FF2B5EF4-FFF2-40B4-BE49-F238E27FC236}">
                  <a16:creationId xmlns:a16="http://schemas.microsoft.com/office/drawing/2014/main" id="{1EB3AED3-26E3-9318-DC85-1CAC39698155}"/>
                </a:ext>
              </a:extLst>
            </p:cNvPr>
            <p:cNvSpPr/>
            <p:nvPr/>
          </p:nvSpPr>
          <p:spPr>
            <a:xfrm>
              <a:off x="8897831" y="4796335"/>
              <a:ext cx="64500" cy="60669"/>
            </a:xfrm>
            <a:custGeom>
              <a:avLst/>
              <a:gdLst/>
              <a:ahLst/>
              <a:cxnLst/>
              <a:rect l="l" t="t" r="r" b="b"/>
              <a:pathLst>
                <a:path w="32" h="31" extrusionOk="0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9" name="Google Shape;1022;p13">
              <a:extLst>
                <a:ext uri="{FF2B5EF4-FFF2-40B4-BE49-F238E27FC236}">
                  <a16:creationId xmlns:a16="http://schemas.microsoft.com/office/drawing/2014/main" id="{FD3E8819-8AD8-099F-AEE9-05794DB96A23}"/>
                </a:ext>
              </a:extLst>
            </p:cNvPr>
            <p:cNvSpPr/>
            <p:nvPr/>
          </p:nvSpPr>
          <p:spPr>
            <a:xfrm>
              <a:off x="9073106" y="4658453"/>
              <a:ext cx="28044" cy="27577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1138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3</TotalTime>
  <Words>32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Trebuchet MS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81</cp:revision>
  <dcterms:created xsi:type="dcterms:W3CDTF">2021-03-31T02:49:57Z</dcterms:created>
  <dcterms:modified xsi:type="dcterms:W3CDTF">2025-10-15T02:42:27Z</dcterms:modified>
  <cp:category/>
</cp:coreProperties>
</file>